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sldIdLst>
    <p:sldId id="2147374409" r:id="rId2"/>
  </p:sldIdLst>
  <p:sldSz cx="12195175" cy="6859588"/>
  <p:notesSz cx="6858000" cy="9144000"/>
  <p:defaultTextStyle>
    <a:defPPr>
      <a:defRPr lang="en-US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A0"/>
    <a:srgbClr val="0000FF"/>
    <a:srgbClr val="E5F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78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A8032-89EB-4D13-922A-D9DAB7321F09}" type="datetimeFigureOut">
              <a:rPr lang="sv-SE" smtClean="0"/>
              <a:t>2024-06-27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1AA99-6AE6-4252-9D49-BFACABC8D9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8177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5654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999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F2A1CFCF-C62A-1DF6-FB43-F82B74AA7311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28885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5728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7081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546E101-B12A-350C-C307-F9B978F274A5}"/>
              </a:ext>
            </a:extLst>
          </p:cNvPr>
          <p:cNvSpPr/>
          <p:nvPr userDrawn="1"/>
        </p:nvSpPr>
        <p:spPr>
          <a:xfrm>
            <a:off x="8189553" y="0"/>
            <a:ext cx="4010400" cy="6859588"/>
          </a:xfrm>
          <a:prstGeom prst="rect">
            <a:avLst/>
          </a:prstGeom>
          <a:solidFill>
            <a:srgbClr val="E5F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999" y="1332000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24A7ADA-849C-17AB-9B33-51D812A289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79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9700100-9CEE-97C9-FAD1-B0EFCC9E3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02613" y="360084"/>
            <a:ext cx="3052800" cy="720000"/>
          </a:xfrm>
        </p:spPr>
        <p:txBody>
          <a:bodyPr anchor="b" anchorCtr="0"/>
          <a:lstStyle>
            <a:lvl1pPr marL="0" indent="0">
              <a:buNone/>
              <a:defRPr b="1">
                <a:latin typeface="+mj-lt"/>
              </a:defRPr>
            </a:lvl1pPr>
            <a:lvl2pPr marL="257191" indent="0">
              <a:buNone/>
              <a:defRPr b="1">
                <a:latin typeface="+mj-lt"/>
              </a:defRPr>
            </a:lvl2pPr>
            <a:lvl3pPr marL="514382" indent="0">
              <a:buNone/>
              <a:defRPr b="1">
                <a:latin typeface="+mj-lt"/>
              </a:defRPr>
            </a:lvl3pPr>
            <a:lvl4pPr marL="771574" indent="0">
              <a:buNone/>
              <a:defRPr b="1">
                <a:latin typeface="+mj-lt"/>
              </a:defRPr>
            </a:lvl4pPr>
            <a:lvl5pPr marL="1028765" indent="0">
              <a:buNone/>
              <a:defRPr b="1">
                <a:latin typeface="+mj-lt"/>
              </a:defRPr>
            </a:lvl5pPr>
          </a:lstStyle>
          <a:p>
            <a:pPr lvl="0"/>
            <a:r>
              <a:rPr lang="en-GB"/>
              <a:t>Click to add title</a:t>
            </a:r>
            <a:endParaRPr lang="en-GB" dirty="0"/>
          </a:p>
        </p:txBody>
      </p:sp>
      <p:sp>
        <p:nvSpPr>
          <p:cNvPr id="16" name="Logotype, static">
            <a:extLst>
              <a:ext uri="{FF2B5EF4-FFF2-40B4-BE49-F238E27FC236}">
                <a16:creationId xmlns:a16="http://schemas.microsoft.com/office/drawing/2014/main" id="{657B27D4-ED75-46A9-0AD9-FAE61A5E0E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1012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64409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8067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88819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817322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66425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Text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8182879" cy="6859587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03252" y="360000"/>
            <a:ext cx="3052747" cy="72000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B1799A-498A-8A7B-92F2-75CA3D939A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02650" y="1332000"/>
            <a:ext cx="3052763" cy="44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Logotype, static">
            <a:extLst>
              <a:ext uri="{FF2B5EF4-FFF2-40B4-BE49-F238E27FC236}">
                <a16:creationId xmlns:a16="http://schemas.microsoft.com/office/drawing/2014/main" id="{C6A38777-D9B2-35D0-58CA-0DC04C032ECA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10599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360000"/>
            <a:ext cx="7200000" cy="972000"/>
          </a:xfr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Logotype, static">
            <a:extLst>
              <a:ext uri="{FF2B5EF4-FFF2-40B4-BE49-F238E27FC236}">
                <a16:creationId xmlns:a16="http://schemas.microsoft.com/office/drawing/2014/main" id="{217402D2-E40B-9ED9-450B-C9603CAF484D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288939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94079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using Nordea Image Bank button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87691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6425AB6-E925-98AD-F161-922D2FCEC4B1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964845" y="941098"/>
            <a:ext cx="5232032" cy="5299513"/>
          </a:xfrm>
          <a:custGeom>
            <a:avLst/>
            <a:gdLst>
              <a:gd name="connsiteX0" fmla="*/ 5232032 w 5232032"/>
              <a:gd name="connsiteY0" fmla="*/ 2308746 h 5299513"/>
              <a:gd name="connsiteX1" fmla="*/ 5232032 w 5232032"/>
              <a:gd name="connsiteY1" fmla="*/ 2990767 h 5299513"/>
              <a:gd name="connsiteX2" fmla="*/ 5019955 w 5232032"/>
              <a:gd name="connsiteY2" fmla="*/ 2784240 h 5299513"/>
              <a:gd name="connsiteX3" fmla="*/ 5019955 w 5232032"/>
              <a:gd name="connsiteY3" fmla="*/ 2510471 h 5299513"/>
              <a:gd name="connsiteX4" fmla="*/ 5232032 w 5232032"/>
              <a:gd name="connsiteY4" fmla="*/ 2308746 h 5299513"/>
              <a:gd name="connsiteX5" fmla="*/ 201232 w 5232032"/>
              <a:gd name="connsiteY5" fmla="*/ 2308746 h 5299513"/>
              <a:gd name="connsiteX6" fmla="*/ 402465 w 5232032"/>
              <a:gd name="connsiteY6" fmla="*/ 2510471 h 5299513"/>
              <a:gd name="connsiteX7" fmla="*/ 402465 w 5232032"/>
              <a:gd name="connsiteY7" fmla="*/ 2784240 h 5299513"/>
              <a:gd name="connsiteX8" fmla="*/ 201232 w 5232032"/>
              <a:gd name="connsiteY8" fmla="*/ 2990767 h 5299513"/>
              <a:gd name="connsiteX9" fmla="*/ 0 w 5232032"/>
              <a:gd name="connsiteY9" fmla="*/ 2784240 h 5299513"/>
              <a:gd name="connsiteX10" fmla="*/ 0 w 5232032"/>
              <a:gd name="connsiteY10" fmla="*/ 2510471 h 5299513"/>
              <a:gd name="connsiteX11" fmla="*/ 201232 w 5232032"/>
              <a:gd name="connsiteY11" fmla="*/ 2308746 h 5299513"/>
              <a:gd name="connsiteX12" fmla="*/ 4416260 w 5232032"/>
              <a:gd name="connsiteY12" fmla="*/ 2275007 h 5299513"/>
              <a:gd name="connsiteX13" fmla="*/ 4757270 w 5232032"/>
              <a:gd name="connsiteY13" fmla="*/ 2615289 h 5299513"/>
              <a:gd name="connsiteX14" fmla="*/ 4757270 w 5232032"/>
              <a:gd name="connsiteY14" fmla="*/ 3631341 h 5299513"/>
              <a:gd name="connsiteX15" fmla="*/ 4416260 w 5232032"/>
              <a:gd name="connsiteY15" fmla="*/ 3971622 h 5299513"/>
              <a:gd name="connsiteX16" fmla="*/ 4075249 w 5232032"/>
              <a:gd name="connsiteY16" fmla="*/ 3631341 h 5299513"/>
              <a:gd name="connsiteX17" fmla="*/ 4075249 w 5232032"/>
              <a:gd name="connsiteY17" fmla="*/ 2615289 h 5299513"/>
              <a:gd name="connsiteX18" fmla="*/ 4416260 w 5232032"/>
              <a:gd name="connsiteY18" fmla="*/ 2275007 h 5299513"/>
              <a:gd name="connsiteX19" fmla="*/ 3308894 w 5232032"/>
              <a:gd name="connsiteY19" fmla="*/ 1494178 h 5299513"/>
              <a:gd name="connsiteX20" fmla="*/ 3735444 w 5232032"/>
              <a:gd name="connsiteY20" fmla="*/ 1915928 h 5299513"/>
              <a:gd name="connsiteX21" fmla="*/ 3735444 w 5232032"/>
              <a:gd name="connsiteY21" fmla="*/ 4872971 h 5299513"/>
              <a:gd name="connsiteX22" fmla="*/ 3308894 w 5232032"/>
              <a:gd name="connsiteY22" fmla="*/ 5299513 h 5299513"/>
              <a:gd name="connsiteX23" fmla="*/ 2887137 w 5232032"/>
              <a:gd name="connsiteY23" fmla="*/ 4872971 h 5299513"/>
              <a:gd name="connsiteX24" fmla="*/ 2887137 w 5232032"/>
              <a:gd name="connsiteY24" fmla="*/ 1915928 h 5299513"/>
              <a:gd name="connsiteX25" fmla="*/ 3308894 w 5232032"/>
              <a:gd name="connsiteY25" fmla="*/ 1494178 h 5299513"/>
              <a:gd name="connsiteX26" fmla="*/ 1015801 w 5232032"/>
              <a:gd name="connsiteY26" fmla="*/ 1323071 h 5299513"/>
              <a:gd name="connsiteX27" fmla="*/ 1356811 w 5232032"/>
              <a:gd name="connsiteY27" fmla="*/ 1663358 h 5299513"/>
              <a:gd name="connsiteX28" fmla="*/ 1356811 w 5232032"/>
              <a:gd name="connsiteY28" fmla="*/ 2684219 h 5299513"/>
              <a:gd name="connsiteX29" fmla="*/ 1015801 w 5232032"/>
              <a:gd name="connsiteY29" fmla="*/ 3024506 h 5299513"/>
              <a:gd name="connsiteX30" fmla="*/ 674790 w 5232032"/>
              <a:gd name="connsiteY30" fmla="*/ 2684219 h 5299513"/>
              <a:gd name="connsiteX31" fmla="*/ 674790 w 5232032"/>
              <a:gd name="connsiteY31" fmla="*/ 1663358 h 5299513"/>
              <a:gd name="connsiteX32" fmla="*/ 1015801 w 5232032"/>
              <a:gd name="connsiteY32" fmla="*/ 1323071 h 5299513"/>
              <a:gd name="connsiteX33" fmla="*/ 2119571 w 5232032"/>
              <a:gd name="connsiteY33" fmla="*/ 0 h 5299513"/>
              <a:gd name="connsiteX34" fmla="*/ 2547333 w 5232032"/>
              <a:gd name="connsiteY34" fmla="*/ 426543 h 5299513"/>
              <a:gd name="connsiteX35" fmla="*/ 2547333 w 5232032"/>
              <a:gd name="connsiteY35" fmla="*/ 3378793 h 5299513"/>
              <a:gd name="connsiteX36" fmla="*/ 2119571 w 5232032"/>
              <a:gd name="connsiteY36" fmla="*/ 3805335 h 5299513"/>
              <a:gd name="connsiteX37" fmla="*/ 1696615 w 5232032"/>
              <a:gd name="connsiteY37" fmla="*/ 3378793 h 5299513"/>
              <a:gd name="connsiteX38" fmla="*/ 1696615 w 5232032"/>
              <a:gd name="connsiteY38" fmla="*/ 426543 h 5299513"/>
              <a:gd name="connsiteX39" fmla="*/ 2119571 w 5232032"/>
              <a:gd name="connsiteY39" fmla="*/ 0 h 5299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232032" h="5299513">
                <a:moveTo>
                  <a:pt x="5232032" y="2308746"/>
                </a:moveTo>
                <a:lnTo>
                  <a:pt x="5232032" y="2990767"/>
                </a:lnTo>
                <a:cubicBezTo>
                  <a:pt x="5116354" y="2990767"/>
                  <a:pt x="5019955" y="2899511"/>
                  <a:pt x="5019955" y="2784240"/>
                </a:cubicBezTo>
                <a:cubicBezTo>
                  <a:pt x="5019955" y="2784240"/>
                  <a:pt x="5019955" y="2784240"/>
                  <a:pt x="5019955" y="2510471"/>
                </a:cubicBezTo>
                <a:cubicBezTo>
                  <a:pt x="5019955" y="2400002"/>
                  <a:pt x="5116354" y="2308746"/>
                  <a:pt x="5232032" y="2308746"/>
                </a:cubicBezTo>
                <a:close/>
                <a:moveTo>
                  <a:pt x="201232" y="2308746"/>
                </a:moveTo>
                <a:cubicBezTo>
                  <a:pt x="311431" y="2308746"/>
                  <a:pt x="402465" y="2400002"/>
                  <a:pt x="402465" y="2510471"/>
                </a:cubicBezTo>
                <a:cubicBezTo>
                  <a:pt x="402465" y="2784240"/>
                  <a:pt x="402465" y="2784240"/>
                  <a:pt x="402465" y="2784240"/>
                </a:cubicBezTo>
                <a:cubicBezTo>
                  <a:pt x="402465" y="2899511"/>
                  <a:pt x="311431" y="2990767"/>
                  <a:pt x="201232" y="2990767"/>
                </a:cubicBezTo>
                <a:cubicBezTo>
                  <a:pt x="86242" y="2990767"/>
                  <a:pt x="0" y="2899511"/>
                  <a:pt x="0" y="2784240"/>
                </a:cubicBezTo>
                <a:cubicBezTo>
                  <a:pt x="0" y="2510471"/>
                  <a:pt x="0" y="2510471"/>
                  <a:pt x="0" y="2510471"/>
                </a:cubicBezTo>
                <a:cubicBezTo>
                  <a:pt x="0" y="2400002"/>
                  <a:pt x="86242" y="2308746"/>
                  <a:pt x="201232" y="2308746"/>
                </a:cubicBezTo>
                <a:close/>
                <a:moveTo>
                  <a:pt x="4416260" y="2275007"/>
                </a:moveTo>
                <a:cubicBezTo>
                  <a:pt x="4603575" y="2275007"/>
                  <a:pt x="4757270" y="2428373"/>
                  <a:pt x="4757270" y="2615289"/>
                </a:cubicBezTo>
                <a:cubicBezTo>
                  <a:pt x="4757270" y="3631341"/>
                  <a:pt x="4757270" y="3631341"/>
                  <a:pt x="4757270" y="3631341"/>
                </a:cubicBezTo>
                <a:cubicBezTo>
                  <a:pt x="4757270" y="3818256"/>
                  <a:pt x="4603575" y="3971622"/>
                  <a:pt x="4416260" y="3971622"/>
                </a:cubicBezTo>
                <a:cubicBezTo>
                  <a:pt x="4228944" y="3971622"/>
                  <a:pt x="4075249" y="3818256"/>
                  <a:pt x="4075249" y="3631341"/>
                </a:cubicBezTo>
                <a:cubicBezTo>
                  <a:pt x="4075249" y="2615289"/>
                  <a:pt x="4075249" y="2615289"/>
                  <a:pt x="4075249" y="2615289"/>
                </a:cubicBezTo>
                <a:cubicBezTo>
                  <a:pt x="4075249" y="2428373"/>
                  <a:pt x="4228944" y="2275007"/>
                  <a:pt x="4416260" y="2275007"/>
                </a:cubicBezTo>
                <a:close/>
                <a:moveTo>
                  <a:pt x="3308894" y="1494178"/>
                </a:moveTo>
                <a:cubicBezTo>
                  <a:pt x="3543736" y="1494178"/>
                  <a:pt x="3735444" y="1685883"/>
                  <a:pt x="3735444" y="1915928"/>
                </a:cubicBezTo>
                <a:cubicBezTo>
                  <a:pt x="3735444" y="4872971"/>
                  <a:pt x="3735444" y="4872971"/>
                  <a:pt x="3735444" y="4872971"/>
                </a:cubicBezTo>
                <a:cubicBezTo>
                  <a:pt x="3735444" y="5107809"/>
                  <a:pt x="3543736" y="5299513"/>
                  <a:pt x="3308894" y="5299513"/>
                </a:cubicBezTo>
                <a:cubicBezTo>
                  <a:pt x="3078845" y="5299513"/>
                  <a:pt x="2887137" y="5107809"/>
                  <a:pt x="2887137" y="4872971"/>
                </a:cubicBezTo>
                <a:cubicBezTo>
                  <a:pt x="2887137" y="1915928"/>
                  <a:pt x="2887137" y="1915928"/>
                  <a:pt x="2887137" y="1915928"/>
                </a:cubicBezTo>
                <a:cubicBezTo>
                  <a:pt x="2887137" y="1685883"/>
                  <a:pt x="3078845" y="1494178"/>
                  <a:pt x="3308894" y="1494178"/>
                </a:cubicBezTo>
                <a:close/>
                <a:moveTo>
                  <a:pt x="1015801" y="1323071"/>
                </a:moveTo>
                <a:cubicBezTo>
                  <a:pt x="1203116" y="1323071"/>
                  <a:pt x="1356811" y="1476440"/>
                  <a:pt x="1356811" y="1663358"/>
                </a:cubicBezTo>
                <a:cubicBezTo>
                  <a:pt x="1356811" y="2684219"/>
                  <a:pt x="1356811" y="2684219"/>
                  <a:pt x="1356811" y="2684219"/>
                </a:cubicBezTo>
                <a:cubicBezTo>
                  <a:pt x="1356811" y="2871137"/>
                  <a:pt x="1203116" y="3024506"/>
                  <a:pt x="1015801" y="3024506"/>
                </a:cubicBezTo>
                <a:cubicBezTo>
                  <a:pt x="828485" y="3024506"/>
                  <a:pt x="674790" y="2871137"/>
                  <a:pt x="674790" y="2684219"/>
                </a:cubicBezTo>
                <a:cubicBezTo>
                  <a:pt x="674790" y="1663358"/>
                  <a:pt x="674790" y="1663358"/>
                  <a:pt x="674790" y="1663358"/>
                </a:cubicBezTo>
                <a:cubicBezTo>
                  <a:pt x="674790" y="1476440"/>
                  <a:pt x="828485" y="1323071"/>
                  <a:pt x="1015801" y="1323071"/>
                </a:cubicBezTo>
                <a:close/>
                <a:moveTo>
                  <a:pt x="2119571" y="0"/>
                </a:moveTo>
                <a:cubicBezTo>
                  <a:pt x="2355080" y="0"/>
                  <a:pt x="2547333" y="191705"/>
                  <a:pt x="2547333" y="426543"/>
                </a:cubicBezTo>
                <a:cubicBezTo>
                  <a:pt x="2547333" y="3378793"/>
                  <a:pt x="2547333" y="3378793"/>
                  <a:pt x="2547333" y="3378793"/>
                </a:cubicBezTo>
                <a:cubicBezTo>
                  <a:pt x="2547333" y="3613631"/>
                  <a:pt x="2355080" y="3805335"/>
                  <a:pt x="2119571" y="3805335"/>
                </a:cubicBezTo>
                <a:cubicBezTo>
                  <a:pt x="1888868" y="3805335"/>
                  <a:pt x="1696615" y="3613631"/>
                  <a:pt x="1696615" y="3378793"/>
                </a:cubicBezTo>
                <a:cubicBezTo>
                  <a:pt x="1696615" y="426543"/>
                  <a:pt x="1696615" y="426543"/>
                  <a:pt x="1696615" y="426543"/>
                </a:cubicBezTo>
                <a:cubicBezTo>
                  <a:pt x="1696615" y="191705"/>
                  <a:pt x="1888868" y="0"/>
                  <a:pt x="2119571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  <a:endParaRPr lang="en-GB" dirty="0"/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02C27998-93A5-61D8-9017-E05F946896C7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28885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37890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0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129580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0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Insert image by clicking on placeholder + Images butto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60000"/>
            <a:ext cx="7200000" cy="972000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  <a:latin typeface="+mj-lt"/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89367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617260"/>
            <a:ext cx="8402188" cy="1842446"/>
          </a:xfrm>
        </p:spPr>
        <p:txBody>
          <a:bodyPr anchor="b" anchorCtr="0">
            <a:noAutofit/>
          </a:bodyPr>
          <a:lstStyle>
            <a:lvl1pPr algn="ctr">
              <a:defRPr sz="4000" b="1" cap="none" baseline="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72018" y="3695879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grpSp>
        <p:nvGrpSpPr>
          <p:cNvPr id="7" name="Pulse">
            <a:extLst>
              <a:ext uri="{FF2B5EF4-FFF2-40B4-BE49-F238E27FC236}">
                <a16:creationId xmlns:a16="http://schemas.microsoft.com/office/drawing/2014/main" id="{C68BB270-0180-6C0D-F35A-670CC32C7A89}"/>
              </a:ext>
            </a:extLst>
          </p:cNvPr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5AEDEF5-EF6A-3786-1898-11A7B4D67D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48B5423-D79D-A870-B332-830D2CFD4B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A215C7BC-AD3A-FDA5-BBE4-2B07E79DE7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4170E1D-4367-1F8D-BE5A-1664CACBE6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EDD0BCCE-1016-C6D6-53F2-8F48EED1C2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E4A903BB-B536-932E-3CCC-D8E81E7871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09743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accent3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00194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43784" y="2135826"/>
            <a:ext cx="5239445" cy="2450040"/>
          </a:xfrm>
        </p:spPr>
        <p:txBody>
          <a:bodyPr>
            <a:noAutofit/>
          </a:bodyPr>
          <a:lstStyle>
            <a:lvl1pPr algn="l">
              <a:defRPr sz="40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GB"/>
              <a:t>Click and type quote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243783" y="4801617"/>
            <a:ext cx="5239445" cy="5400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0">
                <a:solidFill>
                  <a:schemeClr val="accent4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14" name="Quote">
            <a:extLst>
              <a:ext uri="{FF2B5EF4-FFF2-40B4-BE49-F238E27FC236}">
                <a16:creationId xmlns:a16="http://schemas.microsoft.com/office/drawing/2014/main" id="{36288991-A23D-A2A3-792C-522E9B30EA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14439" y="639606"/>
            <a:ext cx="2291716" cy="1548000"/>
            <a:chOff x="2817011" y="265837"/>
            <a:chExt cx="2614377" cy="1765949"/>
          </a:xfrm>
          <a:solidFill>
            <a:schemeClr val="bg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346AE66-BCC3-63A1-734B-97BBE232913B}"/>
                </a:ext>
              </a:extLst>
            </p:cNvPr>
            <p:cNvSpPr/>
            <p:nvPr/>
          </p:nvSpPr>
          <p:spPr>
            <a:xfrm>
              <a:off x="2817011" y="265837"/>
              <a:ext cx="1236586" cy="1765949"/>
            </a:xfrm>
            <a:custGeom>
              <a:avLst/>
              <a:gdLst>
                <a:gd name="connsiteX0" fmla="*/ 1212545 w 1236586"/>
                <a:gd name="connsiteY0" fmla="*/ 482239 h 1765949"/>
                <a:gd name="connsiteX1" fmla="*/ 933272 w 1236586"/>
                <a:gd name="connsiteY1" fmla="*/ 98000 h 1765949"/>
                <a:gd name="connsiteX2" fmla="*/ 391109 w 1236586"/>
                <a:gd name="connsiteY2" fmla="*/ 29611 h 1765949"/>
                <a:gd name="connsiteX3" fmla="*/ 41732 w 1236586"/>
                <a:gd name="connsiteY3" fmla="*/ 331839 h 1765949"/>
                <a:gd name="connsiteX4" fmla="*/ 76879 w 1236586"/>
                <a:gd name="connsiteY4" fmla="*/ 772275 h 1765949"/>
                <a:gd name="connsiteX5" fmla="*/ 291287 w 1236586"/>
                <a:gd name="connsiteY5" fmla="*/ 947249 h 1765949"/>
                <a:gd name="connsiteX6" fmla="*/ 598373 w 1236586"/>
                <a:gd name="connsiteY6" fmla="*/ 984683 h 1765949"/>
                <a:gd name="connsiteX7" fmla="*/ 415016 w 1236586"/>
                <a:gd name="connsiteY7" fmla="*/ 1376636 h 1765949"/>
                <a:gd name="connsiteX8" fmla="*/ 197561 w 1236586"/>
                <a:gd name="connsiteY8" fmla="*/ 1504938 h 1765949"/>
                <a:gd name="connsiteX9" fmla="*/ 264902 w 1236586"/>
                <a:gd name="connsiteY9" fmla="*/ 1643717 h 1765949"/>
                <a:gd name="connsiteX10" fmla="*/ 308146 w 1236586"/>
                <a:gd name="connsiteY10" fmla="*/ 1732871 h 1765949"/>
                <a:gd name="connsiteX11" fmla="*/ 324338 w 1236586"/>
                <a:gd name="connsiteY11" fmla="*/ 1765733 h 1765949"/>
                <a:gd name="connsiteX12" fmla="*/ 338150 w 1236586"/>
                <a:gd name="connsiteY12" fmla="*/ 1762494 h 1765949"/>
                <a:gd name="connsiteX13" fmla="*/ 371011 w 1236586"/>
                <a:gd name="connsiteY13" fmla="*/ 1753731 h 1765949"/>
                <a:gd name="connsiteX14" fmla="*/ 481406 w 1236586"/>
                <a:gd name="connsiteY14" fmla="*/ 1716965 h 1765949"/>
                <a:gd name="connsiteX15" fmla="*/ 806780 w 1236586"/>
                <a:gd name="connsiteY15" fmla="*/ 1542086 h 1765949"/>
                <a:gd name="connsiteX16" fmla="*/ 1115771 w 1236586"/>
                <a:gd name="connsiteY16" fmla="*/ 1192518 h 1765949"/>
                <a:gd name="connsiteX17" fmla="*/ 1207592 w 1236586"/>
                <a:gd name="connsiteY17" fmla="*/ 937629 h 1765949"/>
                <a:gd name="connsiteX18" fmla="*/ 1229594 w 1236586"/>
                <a:gd name="connsiteY18" fmla="*/ 567869 h 1765949"/>
                <a:gd name="connsiteX19" fmla="*/ 1212545 w 123658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586" h="1765949">
                  <a:moveTo>
                    <a:pt x="1212545" y="482239"/>
                  </a:moveTo>
                  <a:cubicBezTo>
                    <a:pt x="1179112" y="321743"/>
                    <a:pt x="1071098" y="183725"/>
                    <a:pt x="933272" y="98000"/>
                  </a:cubicBezTo>
                  <a:cubicBezTo>
                    <a:pt x="771347" y="-2774"/>
                    <a:pt x="572655" y="-26301"/>
                    <a:pt x="391109" y="29611"/>
                  </a:cubicBezTo>
                  <a:cubicBezTo>
                    <a:pt x="241185" y="75807"/>
                    <a:pt x="106978" y="188678"/>
                    <a:pt x="41732" y="331839"/>
                  </a:cubicBezTo>
                  <a:cubicBezTo>
                    <a:pt x="-23324" y="474524"/>
                    <a:pt x="-12847" y="642354"/>
                    <a:pt x="76879" y="772275"/>
                  </a:cubicBezTo>
                  <a:cubicBezTo>
                    <a:pt x="129838" y="848951"/>
                    <a:pt x="204038" y="912674"/>
                    <a:pt x="291287" y="947249"/>
                  </a:cubicBezTo>
                  <a:cubicBezTo>
                    <a:pt x="387299" y="985254"/>
                    <a:pt x="496169" y="997732"/>
                    <a:pt x="598373" y="984683"/>
                  </a:cubicBezTo>
                  <a:cubicBezTo>
                    <a:pt x="608183" y="1133082"/>
                    <a:pt x="523792" y="1282244"/>
                    <a:pt x="415016" y="1376636"/>
                  </a:cubicBezTo>
                  <a:cubicBezTo>
                    <a:pt x="351008" y="1432167"/>
                    <a:pt x="276047" y="1473791"/>
                    <a:pt x="197561" y="1504938"/>
                  </a:cubicBezTo>
                  <a:cubicBezTo>
                    <a:pt x="220040" y="1551230"/>
                    <a:pt x="242423" y="1597521"/>
                    <a:pt x="264902" y="1643717"/>
                  </a:cubicBezTo>
                  <a:cubicBezTo>
                    <a:pt x="279285" y="1673435"/>
                    <a:pt x="293763" y="1703153"/>
                    <a:pt x="308146" y="1732871"/>
                  </a:cubicBezTo>
                  <a:cubicBezTo>
                    <a:pt x="310908" y="1738491"/>
                    <a:pt x="318433" y="1763161"/>
                    <a:pt x="324338" y="1765733"/>
                  </a:cubicBezTo>
                  <a:cubicBezTo>
                    <a:pt x="326815" y="1766876"/>
                    <a:pt x="335578" y="1763161"/>
                    <a:pt x="338150" y="1762494"/>
                  </a:cubicBezTo>
                  <a:cubicBezTo>
                    <a:pt x="349199" y="1759827"/>
                    <a:pt x="360152" y="1756874"/>
                    <a:pt x="371011" y="1753731"/>
                  </a:cubicBezTo>
                  <a:cubicBezTo>
                    <a:pt x="408349" y="1743158"/>
                    <a:pt x="445115" y="1730776"/>
                    <a:pt x="481406" y="1716965"/>
                  </a:cubicBezTo>
                  <a:cubicBezTo>
                    <a:pt x="596753" y="1673150"/>
                    <a:pt x="707148" y="1614952"/>
                    <a:pt x="806780" y="1542086"/>
                  </a:cubicBezTo>
                  <a:cubicBezTo>
                    <a:pt x="933462" y="1449407"/>
                    <a:pt x="1041952" y="1331583"/>
                    <a:pt x="1115771" y="1192518"/>
                  </a:cubicBezTo>
                  <a:cubicBezTo>
                    <a:pt x="1158252" y="1112413"/>
                    <a:pt x="1188923" y="1026307"/>
                    <a:pt x="1207592" y="937629"/>
                  </a:cubicBezTo>
                  <a:cubicBezTo>
                    <a:pt x="1232833" y="817709"/>
                    <a:pt x="1245406" y="689693"/>
                    <a:pt x="1229594" y="567869"/>
                  </a:cubicBezTo>
                  <a:cubicBezTo>
                    <a:pt x="1225784" y="538913"/>
                    <a:pt x="1220355" y="510147"/>
                    <a:pt x="121254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75C50E4-F6DE-940D-DE91-F853D2F0A642}"/>
                </a:ext>
              </a:extLst>
            </p:cNvPr>
            <p:cNvSpPr/>
            <p:nvPr/>
          </p:nvSpPr>
          <p:spPr>
            <a:xfrm>
              <a:off x="4194682" y="265837"/>
              <a:ext cx="1236706" cy="1765949"/>
            </a:xfrm>
            <a:custGeom>
              <a:avLst/>
              <a:gdLst>
                <a:gd name="connsiteX0" fmla="*/ 1212665 w 1236706"/>
                <a:gd name="connsiteY0" fmla="*/ 482239 h 1765949"/>
                <a:gd name="connsiteX1" fmla="*/ 933392 w 1236706"/>
                <a:gd name="connsiteY1" fmla="*/ 98000 h 1765949"/>
                <a:gd name="connsiteX2" fmla="*/ 391229 w 1236706"/>
                <a:gd name="connsiteY2" fmla="*/ 29611 h 1765949"/>
                <a:gd name="connsiteX3" fmla="*/ 41852 w 1236706"/>
                <a:gd name="connsiteY3" fmla="*/ 331839 h 1765949"/>
                <a:gd name="connsiteX4" fmla="*/ 76999 w 1236706"/>
                <a:gd name="connsiteY4" fmla="*/ 772275 h 1765949"/>
                <a:gd name="connsiteX5" fmla="*/ 291407 w 1236706"/>
                <a:gd name="connsiteY5" fmla="*/ 947249 h 1765949"/>
                <a:gd name="connsiteX6" fmla="*/ 598493 w 1236706"/>
                <a:gd name="connsiteY6" fmla="*/ 984683 h 1765949"/>
                <a:gd name="connsiteX7" fmla="*/ 415137 w 1236706"/>
                <a:gd name="connsiteY7" fmla="*/ 1376636 h 1765949"/>
                <a:gd name="connsiteX8" fmla="*/ 197681 w 1236706"/>
                <a:gd name="connsiteY8" fmla="*/ 1504938 h 1765949"/>
                <a:gd name="connsiteX9" fmla="*/ 265023 w 1236706"/>
                <a:gd name="connsiteY9" fmla="*/ 1643717 h 1765949"/>
                <a:gd name="connsiteX10" fmla="*/ 308266 w 1236706"/>
                <a:gd name="connsiteY10" fmla="*/ 1732871 h 1765949"/>
                <a:gd name="connsiteX11" fmla="*/ 324459 w 1236706"/>
                <a:gd name="connsiteY11" fmla="*/ 1765733 h 1765949"/>
                <a:gd name="connsiteX12" fmla="*/ 338270 w 1236706"/>
                <a:gd name="connsiteY12" fmla="*/ 1762494 h 1765949"/>
                <a:gd name="connsiteX13" fmla="*/ 371131 w 1236706"/>
                <a:gd name="connsiteY13" fmla="*/ 1753731 h 1765949"/>
                <a:gd name="connsiteX14" fmla="*/ 481526 w 1236706"/>
                <a:gd name="connsiteY14" fmla="*/ 1716965 h 1765949"/>
                <a:gd name="connsiteX15" fmla="*/ 806900 w 1236706"/>
                <a:gd name="connsiteY15" fmla="*/ 1542086 h 1765949"/>
                <a:gd name="connsiteX16" fmla="*/ 1115891 w 1236706"/>
                <a:gd name="connsiteY16" fmla="*/ 1192518 h 1765949"/>
                <a:gd name="connsiteX17" fmla="*/ 1207712 w 1236706"/>
                <a:gd name="connsiteY17" fmla="*/ 937629 h 1765949"/>
                <a:gd name="connsiteX18" fmla="*/ 1229715 w 1236706"/>
                <a:gd name="connsiteY18" fmla="*/ 567869 h 1765949"/>
                <a:gd name="connsiteX19" fmla="*/ 1212665 w 1236706"/>
                <a:gd name="connsiteY19" fmla="*/ 482048 h 1765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36706" h="1765949">
                  <a:moveTo>
                    <a:pt x="1212665" y="482239"/>
                  </a:moveTo>
                  <a:cubicBezTo>
                    <a:pt x="1179232" y="321743"/>
                    <a:pt x="1071219" y="183725"/>
                    <a:pt x="933392" y="98000"/>
                  </a:cubicBezTo>
                  <a:cubicBezTo>
                    <a:pt x="771467" y="-2774"/>
                    <a:pt x="572871" y="-26301"/>
                    <a:pt x="391229" y="29611"/>
                  </a:cubicBezTo>
                  <a:cubicBezTo>
                    <a:pt x="241305" y="75807"/>
                    <a:pt x="107193" y="188678"/>
                    <a:pt x="41852" y="331839"/>
                  </a:cubicBezTo>
                  <a:cubicBezTo>
                    <a:pt x="-23490" y="475000"/>
                    <a:pt x="-12726" y="642354"/>
                    <a:pt x="76999" y="772275"/>
                  </a:cubicBezTo>
                  <a:cubicBezTo>
                    <a:pt x="129958" y="848951"/>
                    <a:pt x="204158" y="912674"/>
                    <a:pt x="291407" y="947249"/>
                  </a:cubicBezTo>
                  <a:cubicBezTo>
                    <a:pt x="387419" y="985254"/>
                    <a:pt x="496290" y="997732"/>
                    <a:pt x="598493" y="984683"/>
                  </a:cubicBezTo>
                  <a:cubicBezTo>
                    <a:pt x="608304" y="1133082"/>
                    <a:pt x="523912" y="1282244"/>
                    <a:pt x="415137" y="1376636"/>
                  </a:cubicBezTo>
                  <a:cubicBezTo>
                    <a:pt x="351129" y="1432167"/>
                    <a:pt x="276167" y="1473791"/>
                    <a:pt x="197681" y="1504938"/>
                  </a:cubicBezTo>
                  <a:cubicBezTo>
                    <a:pt x="220160" y="1551230"/>
                    <a:pt x="242544" y="1597521"/>
                    <a:pt x="265023" y="1643717"/>
                  </a:cubicBezTo>
                  <a:cubicBezTo>
                    <a:pt x="279406" y="1673435"/>
                    <a:pt x="293884" y="1703153"/>
                    <a:pt x="308266" y="1732871"/>
                  </a:cubicBezTo>
                  <a:cubicBezTo>
                    <a:pt x="311028" y="1738491"/>
                    <a:pt x="318553" y="1763161"/>
                    <a:pt x="324459" y="1765733"/>
                  </a:cubicBezTo>
                  <a:cubicBezTo>
                    <a:pt x="326935" y="1766876"/>
                    <a:pt x="335698" y="1763161"/>
                    <a:pt x="338270" y="1762494"/>
                  </a:cubicBezTo>
                  <a:cubicBezTo>
                    <a:pt x="349319" y="1759827"/>
                    <a:pt x="360273" y="1756874"/>
                    <a:pt x="371131" y="1753731"/>
                  </a:cubicBezTo>
                  <a:cubicBezTo>
                    <a:pt x="408469" y="1743158"/>
                    <a:pt x="445236" y="1730776"/>
                    <a:pt x="481526" y="1716965"/>
                  </a:cubicBezTo>
                  <a:cubicBezTo>
                    <a:pt x="596874" y="1673150"/>
                    <a:pt x="707268" y="1614952"/>
                    <a:pt x="806900" y="1542086"/>
                  </a:cubicBezTo>
                  <a:cubicBezTo>
                    <a:pt x="933582" y="1449407"/>
                    <a:pt x="1042072" y="1331583"/>
                    <a:pt x="1115891" y="1192518"/>
                  </a:cubicBezTo>
                  <a:cubicBezTo>
                    <a:pt x="1158373" y="1112413"/>
                    <a:pt x="1189043" y="1026307"/>
                    <a:pt x="1207712" y="937629"/>
                  </a:cubicBezTo>
                  <a:cubicBezTo>
                    <a:pt x="1232953" y="817709"/>
                    <a:pt x="1245526" y="689693"/>
                    <a:pt x="1229715" y="567869"/>
                  </a:cubicBezTo>
                  <a:cubicBezTo>
                    <a:pt x="1225905" y="538913"/>
                    <a:pt x="1220475" y="510147"/>
                    <a:pt x="1212665" y="48204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5" name="Logotype, static">
            <a:extLst>
              <a:ext uri="{FF2B5EF4-FFF2-40B4-BE49-F238E27FC236}">
                <a16:creationId xmlns:a16="http://schemas.microsoft.com/office/drawing/2014/main" id="{ED491FC6-D7FC-0600-9C48-CD411A9E4887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86802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1301642"/>
          </a:xfrm>
        </p:spPr>
        <p:txBody>
          <a:bodyPr/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761403"/>
            <a:ext cx="5436000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4299045"/>
            <a:ext cx="5436000" cy="82568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  <a:endParaRPr lang="en-GB" dirty="0"/>
          </a:p>
        </p:txBody>
      </p:sp>
      <p:grpSp>
        <p:nvGrpSpPr>
          <p:cNvPr id="16" name="Pulse"/>
          <p:cNvGrpSpPr/>
          <p:nvPr userDrawn="1"/>
        </p:nvGrpSpPr>
        <p:grpSpPr>
          <a:xfrm>
            <a:off x="9557448" y="3630308"/>
            <a:ext cx="2640901" cy="2674962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BC9B11D0-BD76-870A-786F-3ACEE61F6F86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28885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653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5832702-13D4-CC82-9036-5C11D2AEC3C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2"/>
            <a:ext cx="12195174" cy="6859587"/>
          </a:xfrm>
          <a:custGeom>
            <a:avLst/>
            <a:gdLst>
              <a:gd name="connsiteX0" fmla="*/ 7166078 w 12195174"/>
              <a:gd name="connsiteY0" fmla="*/ 3249843 h 6859587"/>
              <a:gd name="connsiteX1" fmla="*/ 6964845 w 12195174"/>
              <a:gd name="connsiteY1" fmla="*/ 3451568 h 6859587"/>
              <a:gd name="connsiteX2" fmla="*/ 6964845 w 12195174"/>
              <a:gd name="connsiteY2" fmla="*/ 3725337 h 6859587"/>
              <a:gd name="connsiteX3" fmla="*/ 7166078 w 12195174"/>
              <a:gd name="connsiteY3" fmla="*/ 3931864 h 6859587"/>
              <a:gd name="connsiteX4" fmla="*/ 7367310 w 12195174"/>
              <a:gd name="connsiteY4" fmla="*/ 3725337 h 6859587"/>
              <a:gd name="connsiteX5" fmla="*/ 7367310 w 12195174"/>
              <a:gd name="connsiteY5" fmla="*/ 3451568 h 6859587"/>
              <a:gd name="connsiteX6" fmla="*/ 7166078 w 12195174"/>
              <a:gd name="connsiteY6" fmla="*/ 3249843 h 6859587"/>
              <a:gd name="connsiteX7" fmla="*/ 11381105 w 12195174"/>
              <a:gd name="connsiteY7" fmla="*/ 3216105 h 6859587"/>
              <a:gd name="connsiteX8" fmla="*/ 11040094 w 12195174"/>
              <a:gd name="connsiteY8" fmla="*/ 3556386 h 6859587"/>
              <a:gd name="connsiteX9" fmla="*/ 11040094 w 12195174"/>
              <a:gd name="connsiteY9" fmla="*/ 4572438 h 6859587"/>
              <a:gd name="connsiteX10" fmla="*/ 11381105 w 12195174"/>
              <a:gd name="connsiteY10" fmla="*/ 4912719 h 6859587"/>
              <a:gd name="connsiteX11" fmla="*/ 11722115 w 12195174"/>
              <a:gd name="connsiteY11" fmla="*/ 4572438 h 6859587"/>
              <a:gd name="connsiteX12" fmla="*/ 11722115 w 12195174"/>
              <a:gd name="connsiteY12" fmla="*/ 3556386 h 6859587"/>
              <a:gd name="connsiteX13" fmla="*/ 11381105 w 12195174"/>
              <a:gd name="connsiteY13" fmla="*/ 3216105 h 6859587"/>
              <a:gd name="connsiteX14" fmla="*/ 10273739 w 12195174"/>
              <a:gd name="connsiteY14" fmla="*/ 2435275 h 6859587"/>
              <a:gd name="connsiteX15" fmla="*/ 9851982 w 12195174"/>
              <a:gd name="connsiteY15" fmla="*/ 2857025 h 6859587"/>
              <a:gd name="connsiteX16" fmla="*/ 9851982 w 12195174"/>
              <a:gd name="connsiteY16" fmla="*/ 5814068 h 6859587"/>
              <a:gd name="connsiteX17" fmla="*/ 10273739 w 12195174"/>
              <a:gd name="connsiteY17" fmla="*/ 6240610 h 6859587"/>
              <a:gd name="connsiteX18" fmla="*/ 10700289 w 12195174"/>
              <a:gd name="connsiteY18" fmla="*/ 5814068 h 6859587"/>
              <a:gd name="connsiteX19" fmla="*/ 10700289 w 12195174"/>
              <a:gd name="connsiteY19" fmla="*/ 2857025 h 6859587"/>
              <a:gd name="connsiteX20" fmla="*/ 10273739 w 12195174"/>
              <a:gd name="connsiteY20" fmla="*/ 2435275 h 6859587"/>
              <a:gd name="connsiteX21" fmla="*/ 7980646 w 12195174"/>
              <a:gd name="connsiteY21" fmla="*/ 2264169 h 6859587"/>
              <a:gd name="connsiteX22" fmla="*/ 7639635 w 12195174"/>
              <a:gd name="connsiteY22" fmla="*/ 2604455 h 6859587"/>
              <a:gd name="connsiteX23" fmla="*/ 7639635 w 12195174"/>
              <a:gd name="connsiteY23" fmla="*/ 3625316 h 6859587"/>
              <a:gd name="connsiteX24" fmla="*/ 7980646 w 12195174"/>
              <a:gd name="connsiteY24" fmla="*/ 3965603 h 6859587"/>
              <a:gd name="connsiteX25" fmla="*/ 8321656 w 12195174"/>
              <a:gd name="connsiteY25" fmla="*/ 3625316 h 6859587"/>
              <a:gd name="connsiteX26" fmla="*/ 8321656 w 12195174"/>
              <a:gd name="connsiteY26" fmla="*/ 2604455 h 6859587"/>
              <a:gd name="connsiteX27" fmla="*/ 7980646 w 12195174"/>
              <a:gd name="connsiteY27" fmla="*/ 2264169 h 6859587"/>
              <a:gd name="connsiteX28" fmla="*/ 9084416 w 12195174"/>
              <a:gd name="connsiteY28" fmla="*/ 941097 h 6859587"/>
              <a:gd name="connsiteX29" fmla="*/ 8661460 w 12195174"/>
              <a:gd name="connsiteY29" fmla="*/ 1367640 h 6859587"/>
              <a:gd name="connsiteX30" fmla="*/ 8661460 w 12195174"/>
              <a:gd name="connsiteY30" fmla="*/ 4319890 h 6859587"/>
              <a:gd name="connsiteX31" fmla="*/ 9084416 w 12195174"/>
              <a:gd name="connsiteY31" fmla="*/ 4746432 h 6859587"/>
              <a:gd name="connsiteX32" fmla="*/ 9512178 w 12195174"/>
              <a:gd name="connsiteY32" fmla="*/ 4319890 h 6859587"/>
              <a:gd name="connsiteX33" fmla="*/ 9512178 w 12195174"/>
              <a:gd name="connsiteY33" fmla="*/ 1367640 h 6859587"/>
              <a:gd name="connsiteX34" fmla="*/ 9084416 w 12195174"/>
              <a:gd name="connsiteY34" fmla="*/ 941097 h 6859587"/>
              <a:gd name="connsiteX35" fmla="*/ 0 w 12195174"/>
              <a:gd name="connsiteY35" fmla="*/ 0 h 6859587"/>
              <a:gd name="connsiteX36" fmla="*/ 12195174 w 12195174"/>
              <a:gd name="connsiteY36" fmla="*/ 0 h 6859587"/>
              <a:gd name="connsiteX37" fmla="*/ 12195174 w 12195174"/>
              <a:gd name="connsiteY37" fmla="*/ 3250010 h 6859587"/>
              <a:gd name="connsiteX38" fmla="*/ 12154552 w 12195174"/>
              <a:gd name="connsiteY38" fmla="*/ 3253980 h 6859587"/>
              <a:gd name="connsiteX39" fmla="*/ 11984800 w 12195174"/>
              <a:gd name="connsiteY39" fmla="*/ 3451568 h 6859587"/>
              <a:gd name="connsiteX40" fmla="*/ 11984800 w 12195174"/>
              <a:gd name="connsiteY40" fmla="*/ 3725337 h 6859587"/>
              <a:gd name="connsiteX41" fmla="*/ 12154552 w 12195174"/>
              <a:gd name="connsiteY41" fmla="*/ 3927718 h 6859587"/>
              <a:gd name="connsiteX42" fmla="*/ 12195174 w 12195174"/>
              <a:gd name="connsiteY42" fmla="*/ 3931697 h 6859587"/>
              <a:gd name="connsiteX43" fmla="*/ 12195174 w 12195174"/>
              <a:gd name="connsiteY43" fmla="*/ 6859587 h 6859587"/>
              <a:gd name="connsiteX44" fmla="*/ 0 w 12195174"/>
              <a:gd name="connsiteY44" fmla="*/ 6859587 h 685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2195174" h="6859587">
                <a:moveTo>
                  <a:pt x="7166078" y="3249843"/>
                </a:moveTo>
                <a:cubicBezTo>
                  <a:pt x="7051088" y="3249843"/>
                  <a:pt x="6964845" y="3341099"/>
                  <a:pt x="6964845" y="3451568"/>
                </a:cubicBezTo>
                <a:cubicBezTo>
                  <a:pt x="6964845" y="3451568"/>
                  <a:pt x="6964845" y="3451568"/>
                  <a:pt x="6964845" y="3725337"/>
                </a:cubicBezTo>
                <a:cubicBezTo>
                  <a:pt x="6964845" y="3840608"/>
                  <a:pt x="7051088" y="3931864"/>
                  <a:pt x="7166078" y="3931864"/>
                </a:cubicBezTo>
                <a:cubicBezTo>
                  <a:pt x="7276276" y="3931864"/>
                  <a:pt x="7367310" y="3840608"/>
                  <a:pt x="7367310" y="3725337"/>
                </a:cubicBezTo>
                <a:cubicBezTo>
                  <a:pt x="7367310" y="3725337"/>
                  <a:pt x="7367310" y="3725337"/>
                  <a:pt x="7367310" y="3451568"/>
                </a:cubicBezTo>
                <a:cubicBezTo>
                  <a:pt x="7367310" y="3341099"/>
                  <a:pt x="7276276" y="3249843"/>
                  <a:pt x="7166078" y="3249843"/>
                </a:cubicBezTo>
                <a:close/>
                <a:moveTo>
                  <a:pt x="11381105" y="3216105"/>
                </a:moveTo>
                <a:cubicBezTo>
                  <a:pt x="11193789" y="3216105"/>
                  <a:pt x="11040094" y="3369471"/>
                  <a:pt x="11040094" y="3556386"/>
                </a:cubicBezTo>
                <a:cubicBezTo>
                  <a:pt x="11040094" y="3556386"/>
                  <a:pt x="11040094" y="3556386"/>
                  <a:pt x="11040094" y="4572438"/>
                </a:cubicBezTo>
                <a:cubicBezTo>
                  <a:pt x="11040094" y="4759353"/>
                  <a:pt x="11193789" y="4912719"/>
                  <a:pt x="11381105" y="4912719"/>
                </a:cubicBezTo>
                <a:cubicBezTo>
                  <a:pt x="11568420" y="4912719"/>
                  <a:pt x="11722115" y="4759353"/>
                  <a:pt x="11722115" y="4572438"/>
                </a:cubicBezTo>
                <a:cubicBezTo>
                  <a:pt x="11722115" y="4572438"/>
                  <a:pt x="11722115" y="4572438"/>
                  <a:pt x="11722115" y="3556386"/>
                </a:cubicBezTo>
                <a:cubicBezTo>
                  <a:pt x="11722115" y="3369471"/>
                  <a:pt x="11568420" y="3216105"/>
                  <a:pt x="11381105" y="3216105"/>
                </a:cubicBezTo>
                <a:close/>
                <a:moveTo>
                  <a:pt x="10273739" y="2435275"/>
                </a:moveTo>
                <a:cubicBezTo>
                  <a:pt x="10043690" y="2435275"/>
                  <a:pt x="9851982" y="2626980"/>
                  <a:pt x="9851982" y="2857025"/>
                </a:cubicBezTo>
                <a:cubicBezTo>
                  <a:pt x="9851982" y="2857025"/>
                  <a:pt x="9851982" y="2857025"/>
                  <a:pt x="9851982" y="5814068"/>
                </a:cubicBezTo>
                <a:cubicBezTo>
                  <a:pt x="9851982" y="6048906"/>
                  <a:pt x="10043690" y="6240610"/>
                  <a:pt x="10273739" y="6240610"/>
                </a:cubicBezTo>
                <a:cubicBezTo>
                  <a:pt x="10508581" y="6240610"/>
                  <a:pt x="10700289" y="6048906"/>
                  <a:pt x="10700289" y="5814068"/>
                </a:cubicBezTo>
                <a:cubicBezTo>
                  <a:pt x="10700289" y="5814068"/>
                  <a:pt x="10700289" y="5814068"/>
                  <a:pt x="10700289" y="2857025"/>
                </a:cubicBezTo>
                <a:cubicBezTo>
                  <a:pt x="10700289" y="2626980"/>
                  <a:pt x="10508581" y="2435275"/>
                  <a:pt x="10273739" y="2435275"/>
                </a:cubicBezTo>
                <a:close/>
                <a:moveTo>
                  <a:pt x="7980646" y="2264169"/>
                </a:moveTo>
                <a:cubicBezTo>
                  <a:pt x="7793330" y="2264169"/>
                  <a:pt x="7639635" y="2417538"/>
                  <a:pt x="7639635" y="2604455"/>
                </a:cubicBezTo>
                <a:cubicBezTo>
                  <a:pt x="7639635" y="2604455"/>
                  <a:pt x="7639635" y="2604455"/>
                  <a:pt x="7639635" y="3625316"/>
                </a:cubicBezTo>
                <a:cubicBezTo>
                  <a:pt x="7639635" y="3812234"/>
                  <a:pt x="7793330" y="3965603"/>
                  <a:pt x="7980646" y="3965603"/>
                </a:cubicBezTo>
                <a:cubicBezTo>
                  <a:pt x="8167961" y="3965603"/>
                  <a:pt x="8321656" y="3812234"/>
                  <a:pt x="8321656" y="3625316"/>
                </a:cubicBezTo>
                <a:cubicBezTo>
                  <a:pt x="8321656" y="3625316"/>
                  <a:pt x="8321656" y="3625316"/>
                  <a:pt x="8321656" y="2604455"/>
                </a:cubicBezTo>
                <a:cubicBezTo>
                  <a:pt x="8321656" y="2417538"/>
                  <a:pt x="8167961" y="2264169"/>
                  <a:pt x="7980646" y="2264169"/>
                </a:cubicBezTo>
                <a:close/>
                <a:moveTo>
                  <a:pt x="9084416" y="941097"/>
                </a:moveTo>
                <a:cubicBezTo>
                  <a:pt x="8853713" y="941097"/>
                  <a:pt x="8661460" y="1132802"/>
                  <a:pt x="8661460" y="1367640"/>
                </a:cubicBezTo>
                <a:cubicBezTo>
                  <a:pt x="8661460" y="1367640"/>
                  <a:pt x="8661460" y="1367640"/>
                  <a:pt x="8661460" y="4319890"/>
                </a:cubicBezTo>
                <a:cubicBezTo>
                  <a:pt x="8661460" y="4554728"/>
                  <a:pt x="8853713" y="4746432"/>
                  <a:pt x="9084416" y="4746432"/>
                </a:cubicBezTo>
                <a:cubicBezTo>
                  <a:pt x="9319925" y="4746432"/>
                  <a:pt x="9512178" y="4554728"/>
                  <a:pt x="9512178" y="4319890"/>
                </a:cubicBezTo>
                <a:cubicBezTo>
                  <a:pt x="9512178" y="4319890"/>
                  <a:pt x="9512178" y="4319890"/>
                  <a:pt x="9512178" y="1367640"/>
                </a:cubicBezTo>
                <a:cubicBezTo>
                  <a:pt x="9512178" y="1132802"/>
                  <a:pt x="9319925" y="941097"/>
                  <a:pt x="9084416" y="941097"/>
                </a:cubicBezTo>
                <a:close/>
                <a:moveTo>
                  <a:pt x="0" y="0"/>
                </a:moveTo>
                <a:lnTo>
                  <a:pt x="12195174" y="0"/>
                </a:lnTo>
                <a:lnTo>
                  <a:pt x="12195174" y="3250010"/>
                </a:lnTo>
                <a:lnTo>
                  <a:pt x="12154552" y="3253980"/>
                </a:lnTo>
                <a:cubicBezTo>
                  <a:pt x="12058605" y="3272957"/>
                  <a:pt x="11984800" y="3354908"/>
                  <a:pt x="11984800" y="3451568"/>
                </a:cubicBezTo>
                <a:cubicBezTo>
                  <a:pt x="11984800" y="3725337"/>
                  <a:pt x="11984800" y="3725337"/>
                  <a:pt x="11984800" y="3725337"/>
                </a:cubicBezTo>
                <a:cubicBezTo>
                  <a:pt x="11984800" y="3826199"/>
                  <a:pt x="12058605" y="3908675"/>
                  <a:pt x="12154552" y="3927718"/>
                </a:cubicBezTo>
                <a:lnTo>
                  <a:pt x="12195174" y="3931697"/>
                </a:lnTo>
                <a:lnTo>
                  <a:pt x="12195174" y="6859587"/>
                </a:lnTo>
                <a:lnTo>
                  <a:pt x="0" y="6859587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tIns="504000" anchor="t" anchorCtr="0">
            <a:noAutofit/>
          </a:bodyPr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sp>
        <p:nvSpPr>
          <p:cNvPr id="5" name="Logotype">
            <a:extLst>
              <a:ext uri="{FF2B5EF4-FFF2-40B4-BE49-F238E27FC236}">
                <a16:creationId xmlns:a16="http://schemas.microsoft.com/office/drawing/2014/main" id="{E9B5DA61-A2C1-8A49-44C9-63920942D3BF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28885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43811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959540"/>
            <a:ext cx="7200000" cy="617921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602855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080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332977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7168929-C546-6900-44DB-CE0B16A737F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-1"/>
            <a:ext cx="12204000" cy="4911479"/>
          </a:xfrm>
          <a:custGeom>
            <a:avLst/>
            <a:gdLst>
              <a:gd name="connsiteX0" fmla="*/ 9926607 w 12204000"/>
              <a:gd name="connsiteY0" fmla="*/ 3747694 h 4911479"/>
              <a:gd name="connsiteX1" fmla="*/ 9822564 w 12204000"/>
              <a:gd name="connsiteY1" fmla="*/ 3851991 h 4911479"/>
              <a:gd name="connsiteX2" fmla="*/ 9822564 w 12204000"/>
              <a:gd name="connsiteY2" fmla="*/ 3993537 h 4911479"/>
              <a:gd name="connsiteX3" fmla="*/ 9926607 w 12204000"/>
              <a:gd name="connsiteY3" fmla="*/ 4100317 h 4911479"/>
              <a:gd name="connsiteX4" fmla="*/ 10030649 w 12204000"/>
              <a:gd name="connsiteY4" fmla="*/ 3993537 h 4911479"/>
              <a:gd name="connsiteX5" fmla="*/ 10030649 w 12204000"/>
              <a:gd name="connsiteY5" fmla="*/ 3851991 h 4911479"/>
              <a:gd name="connsiteX6" fmla="*/ 9926607 w 12204000"/>
              <a:gd name="connsiteY6" fmla="*/ 3747694 h 4911479"/>
              <a:gd name="connsiteX7" fmla="*/ 10347760 w 12204000"/>
              <a:gd name="connsiteY7" fmla="*/ 3238074 h 4911479"/>
              <a:gd name="connsiteX8" fmla="*/ 10171448 w 12204000"/>
              <a:gd name="connsiteY8" fmla="*/ 3414011 h 4911479"/>
              <a:gd name="connsiteX9" fmla="*/ 10171448 w 12204000"/>
              <a:gd name="connsiteY9" fmla="*/ 3941824 h 4911479"/>
              <a:gd name="connsiteX10" fmla="*/ 10347760 w 12204000"/>
              <a:gd name="connsiteY10" fmla="*/ 4117761 h 4911479"/>
              <a:gd name="connsiteX11" fmla="*/ 10524071 w 12204000"/>
              <a:gd name="connsiteY11" fmla="*/ 3941824 h 4911479"/>
              <a:gd name="connsiteX12" fmla="*/ 10524071 w 12204000"/>
              <a:gd name="connsiteY12" fmla="*/ 3414011 h 4911479"/>
              <a:gd name="connsiteX13" fmla="*/ 10347760 w 12204000"/>
              <a:gd name="connsiteY13" fmla="*/ 3238074 h 4911479"/>
              <a:gd name="connsiteX14" fmla="*/ 10918439 w 12204000"/>
              <a:gd name="connsiteY14" fmla="*/ 2554011 h 4911479"/>
              <a:gd name="connsiteX15" fmla="*/ 10699759 w 12204000"/>
              <a:gd name="connsiteY15" fmla="*/ 2774545 h 4911479"/>
              <a:gd name="connsiteX16" fmla="*/ 10699759 w 12204000"/>
              <a:gd name="connsiteY16" fmla="*/ 4300936 h 4911479"/>
              <a:gd name="connsiteX17" fmla="*/ 10918439 w 12204000"/>
              <a:gd name="connsiteY17" fmla="*/ 4521470 h 4911479"/>
              <a:gd name="connsiteX18" fmla="*/ 11139603 w 12204000"/>
              <a:gd name="connsiteY18" fmla="*/ 4300936 h 4911479"/>
              <a:gd name="connsiteX19" fmla="*/ 11139603 w 12204000"/>
              <a:gd name="connsiteY19" fmla="*/ 2774545 h 4911479"/>
              <a:gd name="connsiteX20" fmla="*/ 10918439 w 12204000"/>
              <a:gd name="connsiteY20" fmla="*/ 2554011 h 4911479"/>
              <a:gd name="connsiteX21" fmla="*/ 0 w 12204000"/>
              <a:gd name="connsiteY21" fmla="*/ 0 h 4911479"/>
              <a:gd name="connsiteX22" fmla="*/ 12204000 w 12204000"/>
              <a:gd name="connsiteY22" fmla="*/ 0 h 4911479"/>
              <a:gd name="connsiteX23" fmla="*/ 12204000 w 12204000"/>
              <a:gd name="connsiteY23" fmla="*/ 3764192 h 4911479"/>
              <a:gd name="connsiteX24" fmla="*/ 12174294 w 12204000"/>
              <a:gd name="connsiteY24" fmla="*/ 3744149 h 4911479"/>
              <a:gd name="connsiteX25" fmla="*/ 12105887 w 12204000"/>
              <a:gd name="connsiteY25" fmla="*/ 3730249 h 4911479"/>
              <a:gd name="connsiteX26" fmla="*/ 11929576 w 12204000"/>
              <a:gd name="connsiteY26" fmla="*/ 3906184 h 4911479"/>
              <a:gd name="connsiteX27" fmla="*/ 11929576 w 12204000"/>
              <a:gd name="connsiteY27" fmla="*/ 4431510 h 4911479"/>
              <a:gd name="connsiteX28" fmla="*/ 12105887 w 12204000"/>
              <a:gd name="connsiteY28" fmla="*/ 4607444 h 4911479"/>
              <a:gd name="connsiteX29" fmla="*/ 12174294 w 12204000"/>
              <a:gd name="connsiteY29" fmla="*/ 4593544 h 4911479"/>
              <a:gd name="connsiteX30" fmla="*/ 12204000 w 12204000"/>
              <a:gd name="connsiteY30" fmla="*/ 4573503 h 4911479"/>
              <a:gd name="connsiteX31" fmla="*/ 12204000 w 12204000"/>
              <a:gd name="connsiteY31" fmla="*/ 4911479 h 4911479"/>
              <a:gd name="connsiteX32" fmla="*/ 11753887 w 12204000"/>
              <a:gd name="connsiteY32" fmla="*/ 4911479 h 4911479"/>
              <a:gd name="connsiteX33" fmla="*/ 11753887 w 12204000"/>
              <a:gd name="connsiteY33" fmla="*/ 4882357 h 4911479"/>
              <a:gd name="connsiteX34" fmla="*/ 11753887 w 12204000"/>
              <a:gd name="connsiteY34" fmla="*/ 3544596 h 4911479"/>
              <a:gd name="connsiteX35" fmla="*/ 11533350 w 12204000"/>
              <a:gd name="connsiteY35" fmla="*/ 3326540 h 4911479"/>
              <a:gd name="connsiteX36" fmla="*/ 11315290 w 12204000"/>
              <a:gd name="connsiteY36" fmla="*/ 3544596 h 4911479"/>
              <a:gd name="connsiteX37" fmla="*/ 11315290 w 12204000"/>
              <a:gd name="connsiteY37" fmla="*/ 4804345 h 4911479"/>
              <a:gd name="connsiteX38" fmla="*/ 11315290 w 12204000"/>
              <a:gd name="connsiteY38" fmla="*/ 4911479 h 4911479"/>
              <a:gd name="connsiteX39" fmla="*/ 0 w 12204000"/>
              <a:gd name="connsiteY39" fmla="*/ 4911479 h 4911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2204000" h="4911479">
                <a:moveTo>
                  <a:pt x="9926607" y="3747694"/>
                </a:moveTo>
                <a:cubicBezTo>
                  <a:pt x="9867154" y="3747694"/>
                  <a:pt x="9822564" y="3794876"/>
                  <a:pt x="9822564" y="3851991"/>
                </a:cubicBezTo>
                <a:cubicBezTo>
                  <a:pt x="9822564" y="3851991"/>
                  <a:pt x="9822564" y="3851991"/>
                  <a:pt x="9822564" y="3993537"/>
                </a:cubicBezTo>
                <a:cubicBezTo>
                  <a:pt x="9822564" y="4053135"/>
                  <a:pt x="9867154" y="4100317"/>
                  <a:pt x="9926607" y="4100317"/>
                </a:cubicBezTo>
                <a:cubicBezTo>
                  <a:pt x="9983582" y="4100317"/>
                  <a:pt x="10030649" y="4053135"/>
                  <a:pt x="10030649" y="3993537"/>
                </a:cubicBezTo>
                <a:cubicBezTo>
                  <a:pt x="10030649" y="3993537"/>
                  <a:pt x="10030649" y="3993537"/>
                  <a:pt x="10030649" y="3851991"/>
                </a:cubicBezTo>
                <a:cubicBezTo>
                  <a:pt x="10030649" y="3794876"/>
                  <a:pt x="9983582" y="3747694"/>
                  <a:pt x="9926607" y="3747694"/>
                </a:cubicBezTo>
                <a:close/>
                <a:moveTo>
                  <a:pt x="10347760" y="3238074"/>
                </a:moveTo>
                <a:cubicBezTo>
                  <a:pt x="10250913" y="3238074"/>
                  <a:pt x="10171448" y="3317370"/>
                  <a:pt x="10171448" y="3414011"/>
                </a:cubicBezTo>
                <a:cubicBezTo>
                  <a:pt x="10171448" y="3414011"/>
                  <a:pt x="10171448" y="3414011"/>
                  <a:pt x="10171448" y="3941824"/>
                </a:cubicBezTo>
                <a:cubicBezTo>
                  <a:pt x="10171448" y="4038465"/>
                  <a:pt x="10250913" y="4117761"/>
                  <a:pt x="10347760" y="4117761"/>
                </a:cubicBezTo>
                <a:cubicBezTo>
                  <a:pt x="10444607" y="4117761"/>
                  <a:pt x="10524071" y="4038465"/>
                  <a:pt x="10524071" y="3941824"/>
                </a:cubicBezTo>
                <a:cubicBezTo>
                  <a:pt x="10524071" y="3941824"/>
                  <a:pt x="10524071" y="3941824"/>
                  <a:pt x="10524071" y="3414011"/>
                </a:cubicBezTo>
                <a:cubicBezTo>
                  <a:pt x="10524071" y="3317370"/>
                  <a:pt x="10444607" y="3238074"/>
                  <a:pt x="10347760" y="3238074"/>
                </a:cubicBezTo>
                <a:close/>
                <a:moveTo>
                  <a:pt x="10918439" y="2554011"/>
                </a:moveTo>
                <a:cubicBezTo>
                  <a:pt x="10799159" y="2554011"/>
                  <a:pt x="10699759" y="2653127"/>
                  <a:pt x="10699759" y="2774545"/>
                </a:cubicBezTo>
                <a:cubicBezTo>
                  <a:pt x="10699759" y="2774545"/>
                  <a:pt x="10699759" y="2774545"/>
                  <a:pt x="10699759" y="4300936"/>
                </a:cubicBezTo>
                <a:cubicBezTo>
                  <a:pt x="10699759" y="4422354"/>
                  <a:pt x="10799159" y="4521470"/>
                  <a:pt x="10918439" y="4521470"/>
                </a:cubicBezTo>
                <a:cubicBezTo>
                  <a:pt x="11040203" y="4521470"/>
                  <a:pt x="11139603" y="4422354"/>
                  <a:pt x="11139603" y="4300936"/>
                </a:cubicBezTo>
                <a:cubicBezTo>
                  <a:pt x="11139603" y="4300936"/>
                  <a:pt x="11139603" y="4300936"/>
                  <a:pt x="11139603" y="2774545"/>
                </a:cubicBezTo>
                <a:cubicBezTo>
                  <a:pt x="11139603" y="2653127"/>
                  <a:pt x="11040203" y="2554011"/>
                  <a:pt x="10918439" y="2554011"/>
                </a:cubicBezTo>
                <a:close/>
                <a:moveTo>
                  <a:pt x="0" y="0"/>
                </a:moveTo>
                <a:lnTo>
                  <a:pt x="12204000" y="0"/>
                </a:lnTo>
                <a:lnTo>
                  <a:pt x="12204000" y="3764192"/>
                </a:lnTo>
                <a:lnTo>
                  <a:pt x="12174294" y="3744149"/>
                </a:lnTo>
                <a:cubicBezTo>
                  <a:pt x="12153224" y="3735205"/>
                  <a:pt x="12130099" y="3730249"/>
                  <a:pt x="12105887" y="3730249"/>
                </a:cubicBezTo>
                <a:cubicBezTo>
                  <a:pt x="12009040" y="3730249"/>
                  <a:pt x="11929576" y="3809544"/>
                  <a:pt x="11929576" y="3906184"/>
                </a:cubicBezTo>
                <a:cubicBezTo>
                  <a:pt x="11929576" y="3906184"/>
                  <a:pt x="11929576" y="3906184"/>
                  <a:pt x="11929576" y="4431510"/>
                </a:cubicBezTo>
                <a:cubicBezTo>
                  <a:pt x="11929576" y="4528150"/>
                  <a:pt x="12009040" y="4607444"/>
                  <a:pt x="12105887" y="4607444"/>
                </a:cubicBezTo>
                <a:cubicBezTo>
                  <a:pt x="12130099" y="4607444"/>
                  <a:pt x="12153224" y="4602488"/>
                  <a:pt x="12174294" y="4593544"/>
                </a:cubicBezTo>
                <a:lnTo>
                  <a:pt x="12204000" y="4573503"/>
                </a:lnTo>
                <a:lnTo>
                  <a:pt x="12204000" y="4911479"/>
                </a:lnTo>
                <a:lnTo>
                  <a:pt x="11753887" y="4911479"/>
                </a:lnTo>
                <a:lnTo>
                  <a:pt x="11753887" y="4882357"/>
                </a:lnTo>
                <a:cubicBezTo>
                  <a:pt x="11753887" y="4691248"/>
                  <a:pt x="11753887" y="4309031"/>
                  <a:pt x="11753887" y="3544596"/>
                </a:cubicBezTo>
                <a:cubicBezTo>
                  <a:pt x="11753887" y="3425656"/>
                  <a:pt x="11654769" y="3326540"/>
                  <a:pt x="11533350" y="3326540"/>
                </a:cubicBezTo>
                <a:cubicBezTo>
                  <a:pt x="11414408" y="3326540"/>
                  <a:pt x="11315290" y="3425656"/>
                  <a:pt x="11315290" y="3544596"/>
                </a:cubicBezTo>
                <a:cubicBezTo>
                  <a:pt x="11315290" y="3544596"/>
                  <a:pt x="11315290" y="3544596"/>
                  <a:pt x="11315290" y="4804345"/>
                </a:cubicBezTo>
                <a:lnTo>
                  <a:pt x="11315290" y="4911479"/>
                </a:lnTo>
                <a:lnTo>
                  <a:pt x="0" y="4911479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image by clicking on placeholder + Images button</a:t>
            </a:r>
            <a:endParaRPr lang="en-GB" dirty="0"/>
          </a:p>
        </p:txBody>
      </p:sp>
      <p:sp>
        <p:nvSpPr>
          <p:cNvPr id="38" name="Pulse">
            <a:extLst>
              <a:ext uri="{FF2B5EF4-FFF2-40B4-BE49-F238E27FC236}">
                <a16:creationId xmlns:a16="http://schemas.microsoft.com/office/drawing/2014/main" id="{437A1C0F-02A0-4154-9BE2-4CC52A926281}"/>
              </a:ext>
            </a:extLst>
          </p:cNvPr>
          <p:cNvSpPr>
            <a:spLocks/>
          </p:cNvSpPr>
          <p:nvPr userDrawn="1"/>
        </p:nvSpPr>
        <p:spPr bwMode="auto">
          <a:xfrm>
            <a:off x="9824400" y="2552400"/>
            <a:ext cx="2391674" cy="2739988"/>
          </a:xfrm>
          <a:custGeom>
            <a:avLst/>
            <a:gdLst>
              <a:gd name="connsiteX0" fmla="*/ 104043 w 2391674"/>
              <a:gd name="connsiteY0" fmla="*/ 1193683 h 2739988"/>
              <a:gd name="connsiteX1" fmla="*/ 208085 w 2391674"/>
              <a:gd name="connsiteY1" fmla="*/ 1297980 h 2739988"/>
              <a:gd name="connsiteX2" fmla="*/ 208085 w 2391674"/>
              <a:gd name="connsiteY2" fmla="*/ 1439526 h 2739988"/>
              <a:gd name="connsiteX3" fmla="*/ 104043 w 2391674"/>
              <a:gd name="connsiteY3" fmla="*/ 1546306 h 2739988"/>
              <a:gd name="connsiteX4" fmla="*/ 0 w 2391674"/>
              <a:gd name="connsiteY4" fmla="*/ 1439526 h 2739988"/>
              <a:gd name="connsiteX5" fmla="*/ 0 w 2391674"/>
              <a:gd name="connsiteY5" fmla="*/ 1297980 h 2739988"/>
              <a:gd name="connsiteX6" fmla="*/ 104043 w 2391674"/>
              <a:gd name="connsiteY6" fmla="*/ 1193683 h 2739988"/>
              <a:gd name="connsiteX7" fmla="*/ 2283323 w 2391674"/>
              <a:gd name="connsiteY7" fmla="*/ 1176238 h 2739988"/>
              <a:gd name="connsiteX8" fmla="*/ 2351730 w 2391674"/>
              <a:gd name="connsiteY8" fmla="*/ 1190138 h 2739988"/>
              <a:gd name="connsiteX9" fmla="*/ 2391674 w 2391674"/>
              <a:gd name="connsiteY9" fmla="*/ 1217088 h 2739988"/>
              <a:gd name="connsiteX10" fmla="*/ 2391674 w 2391674"/>
              <a:gd name="connsiteY10" fmla="*/ 2012584 h 2739988"/>
              <a:gd name="connsiteX11" fmla="*/ 2351730 w 2391674"/>
              <a:gd name="connsiteY11" fmla="*/ 2039533 h 2739988"/>
              <a:gd name="connsiteX12" fmla="*/ 2283323 w 2391674"/>
              <a:gd name="connsiteY12" fmla="*/ 2053433 h 2739988"/>
              <a:gd name="connsiteX13" fmla="*/ 2107012 w 2391674"/>
              <a:gd name="connsiteY13" fmla="*/ 1877499 h 2739988"/>
              <a:gd name="connsiteX14" fmla="*/ 2107012 w 2391674"/>
              <a:gd name="connsiteY14" fmla="*/ 1352173 h 2739988"/>
              <a:gd name="connsiteX15" fmla="*/ 2283323 w 2391674"/>
              <a:gd name="connsiteY15" fmla="*/ 1176238 h 2739988"/>
              <a:gd name="connsiteX16" fmla="*/ 1710786 w 2391674"/>
              <a:gd name="connsiteY16" fmla="*/ 772529 h 2739988"/>
              <a:gd name="connsiteX17" fmla="*/ 1931323 w 2391674"/>
              <a:gd name="connsiteY17" fmla="*/ 990585 h 2739988"/>
              <a:gd name="connsiteX18" fmla="*/ 1931323 w 2391674"/>
              <a:gd name="connsiteY18" fmla="*/ 2519454 h 2739988"/>
              <a:gd name="connsiteX19" fmla="*/ 1710786 w 2391674"/>
              <a:gd name="connsiteY19" fmla="*/ 2739988 h 2739988"/>
              <a:gd name="connsiteX20" fmla="*/ 1492726 w 2391674"/>
              <a:gd name="connsiteY20" fmla="*/ 2519454 h 2739988"/>
              <a:gd name="connsiteX21" fmla="*/ 1492726 w 2391674"/>
              <a:gd name="connsiteY21" fmla="*/ 990585 h 2739988"/>
              <a:gd name="connsiteX22" fmla="*/ 1710786 w 2391674"/>
              <a:gd name="connsiteY22" fmla="*/ 772529 h 2739988"/>
              <a:gd name="connsiteX23" fmla="*/ 525196 w 2391674"/>
              <a:gd name="connsiteY23" fmla="*/ 684063 h 2739988"/>
              <a:gd name="connsiteX24" fmla="*/ 701507 w 2391674"/>
              <a:gd name="connsiteY24" fmla="*/ 860000 h 2739988"/>
              <a:gd name="connsiteX25" fmla="*/ 701507 w 2391674"/>
              <a:gd name="connsiteY25" fmla="*/ 1387813 h 2739988"/>
              <a:gd name="connsiteX26" fmla="*/ 525196 w 2391674"/>
              <a:gd name="connsiteY26" fmla="*/ 1563750 h 2739988"/>
              <a:gd name="connsiteX27" fmla="*/ 348884 w 2391674"/>
              <a:gd name="connsiteY27" fmla="*/ 1387813 h 2739988"/>
              <a:gd name="connsiteX28" fmla="*/ 348884 w 2391674"/>
              <a:gd name="connsiteY28" fmla="*/ 860000 h 2739988"/>
              <a:gd name="connsiteX29" fmla="*/ 525196 w 2391674"/>
              <a:gd name="connsiteY29" fmla="*/ 684063 h 2739988"/>
              <a:gd name="connsiteX30" fmla="*/ 1095875 w 2391674"/>
              <a:gd name="connsiteY30" fmla="*/ 0 h 2739988"/>
              <a:gd name="connsiteX31" fmla="*/ 1317039 w 2391674"/>
              <a:gd name="connsiteY31" fmla="*/ 220534 h 2739988"/>
              <a:gd name="connsiteX32" fmla="*/ 1317039 w 2391674"/>
              <a:gd name="connsiteY32" fmla="*/ 1746925 h 2739988"/>
              <a:gd name="connsiteX33" fmla="*/ 1095875 w 2391674"/>
              <a:gd name="connsiteY33" fmla="*/ 1967459 h 2739988"/>
              <a:gd name="connsiteX34" fmla="*/ 877195 w 2391674"/>
              <a:gd name="connsiteY34" fmla="*/ 1746925 h 2739988"/>
              <a:gd name="connsiteX35" fmla="*/ 877195 w 2391674"/>
              <a:gd name="connsiteY35" fmla="*/ 220534 h 2739988"/>
              <a:gd name="connsiteX36" fmla="*/ 1095875 w 2391674"/>
              <a:gd name="connsiteY36" fmla="*/ 0 h 273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391674" h="2739988">
                <a:moveTo>
                  <a:pt x="104043" y="1193683"/>
                </a:moveTo>
                <a:cubicBezTo>
                  <a:pt x="161018" y="1193683"/>
                  <a:pt x="208085" y="1240865"/>
                  <a:pt x="208085" y="1297980"/>
                </a:cubicBezTo>
                <a:cubicBezTo>
                  <a:pt x="208085" y="1439526"/>
                  <a:pt x="208085" y="1439526"/>
                  <a:pt x="208085" y="1439526"/>
                </a:cubicBezTo>
                <a:cubicBezTo>
                  <a:pt x="208085" y="1499124"/>
                  <a:pt x="161018" y="1546306"/>
                  <a:pt x="104043" y="1546306"/>
                </a:cubicBezTo>
                <a:cubicBezTo>
                  <a:pt x="44590" y="1546306"/>
                  <a:pt x="0" y="1499124"/>
                  <a:pt x="0" y="1439526"/>
                </a:cubicBezTo>
                <a:cubicBezTo>
                  <a:pt x="0" y="1297980"/>
                  <a:pt x="0" y="1297980"/>
                  <a:pt x="0" y="1297980"/>
                </a:cubicBezTo>
                <a:cubicBezTo>
                  <a:pt x="0" y="1240865"/>
                  <a:pt x="44590" y="1193683"/>
                  <a:pt x="104043" y="1193683"/>
                </a:cubicBezTo>
                <a:close/>
                <a:moveTo>
                  <a:pt x="2283323" y="1176238"/>
                </a:moveTo>
                <a:cubicBezTo>
                  <a:pt x="2307535" y="1176238"/>
                  <a:pt x="2330660" y="1181194"/>
                  <a:pt x="2351730" y="1190138"/>
                </a:cubicBezTo>
                <a:lnTo>
                  <a:pt x="2391674" y="1217088"/>
                </a:lnTo>
                <a:lnTo>
                  <a:pt x="2391674" y="2012584"/>
                </a:lnTo>
                <a:lnTo>
                  <a:pt x="2351730" y="2039533"/>
                </a:lnTo>
                <a:cubicBezTo>
                  <a:pt x="2330660" y="2048477"/>
                  <a:pt x="2307535" y="2053433"/>
                  <a:pt x="2283323" y="2053433"/>
                </a:cubicBezTo>
                <a:cubicBezTo>
                  <a:pt x="2186476" y="2053433"/>
                  <a:pt x="2107012" y="1974139"/>
                  <a:pt x="2107012" y="1877499"/>
                </a:cubicBezTo>
                <a:cubicBezTo>
                  <a:pt x="2107012" y="1352173"/>
                  <a:pt x="2107012" y="1352173"/>
                  <a:pt x="2107012" y="1352173"/>
                </a:cubicBezTo>
                <a:cubicBezTo>
                  <a:pt x="2107012" y="1255533"/>
                  <a:pt x="2186476" y="1176238"/>
                  <a:pt x="2283323" y="1176238"/>
                </a:cubicBezTo>
                <a:close/>
                <a:moveTo>
                  <a:pt x="1710786" y="772529"/>
                </a:moveTo>
                <a:cubicBezTo>
                  <a:pt x="1832205" y="772529"/>
                  <a:pt x="1931323" y="871645"/>
                  <a:pt x="1931323" y="990585"/>
                </a:cubicBezTo>
                <a:cubicBezTo>
                  <a:pt x="1931323" y="2519454"/>
                  <a:pt x="1931323" y="2519454"/>
                  <a:pt x="1931323" y="2519454"/>
                </a:cubicBezTo>
                <a:cubicBezTo>
                  <a:pt x="1931323" y="2640872"/>
                  <a:pt x="1832205" y="2739988"/>
                  <a:pt x="1710786" y="2739988"/>
                </a:cubicBezTo>
                <a:cubicBezTo>
                  <a:pt x="1591844" y="2739988"/>
                  <a:pt x="1492726" y="2640872"/>
                  <a:pt x="1492726" y="2519454"/>
                </a:cubicBezTo>
                <a:cubicBezTo>
                  <a:pt x="1492726" y="990585"/>
                  <a:pt x="1492726" y="990585"/>
                  <a:pt x="1492726" y="990585"/>
                </a:cubicBezTo>
                <a:cubicBezTo>
                  <a:pt x="1492726" y="871645"/>
                  <a:pt x="1591844" y="772529"/>
                  <a:pt x="1710786" y="772529"/>
                </a:cubicBezTo>
                <a:close/>
                <a:moveTo>
                  <a:pt x="525196" y="684063"/>
                </a:moveTo>
                <a:cubicBezTo>
                  <a:pt x="622043" y="684063"/>
                  <a:pt x="701507" y="763359"/>
                  <a:pt x="701507" y="860000"/>
                </a:cubicBezTo>
                <a:cubicBezTo>
                  <a:pt x="701507" y="1387813"/>
                  <a:pt x="701507" y="1387813"/>
                  <a:pt x="701507" y="1387813"/>
                </a:cubicBezTo>
                <a:cubicBezTo>
                  <a:pt x="701507" y="1484454"/>
                  <a:pt x="622043" y="1563750"/>
                  <a:pt x="525196" y="1563750"/>
                </a:cubicBezTo>
                <a:cubicBezTo>
                  <a:pt x="428349" y="1563750"/>
                  <a:pt x="348884" y="1484454"/>
                  <a:pt x="348884" y="1387813"/>
                </a:cubicBezTo>
                <a:cubicBezTo>
                  <a:pt x="348884" y="860000"/>
                  <a:pt x="348884" y="860000"/>
                  <a:pt x="348884" y="860000"/>
                </a:cubicBezTo>
                <a:cubicBezTo>
                  <a:pt x="348884" y="763359"/>
                  <a:pt x="428349" y="684063"/>
                  <a:pt x="525196" y="684063"/>
                </a:cubicBezTo>
                <a:close/>
                <a:moveTo>
                  <a:pt x="1095875" y="0"/>
                </a:moveTo>
                <a:cubicBezTo>
                  <a:pt x="1217639" y="0"/>
                  <a:pt x="1317039" y="99116"/>
                  <a:pt x="1317039" y="220534"/>
                </a:cubicBezTo>
                <a:cubicBezTo>
                  <a:pt x="1317039" y="1746925"/>
                  <a:pt x="1317039" y="1746925"/>
                  <a:pt x="1317039" y="1746925"/>
                </a:cubicBezTo>
                <a:cubicBezTo>
                  <a:pt x="1317039" y="1868343"/>
                  <a:pt x="1217639" y="1967459"/>
                  <a:pt x="1095875" y="1967459"/>
                </a:cubicBezTo>
                <a:cubicBezTo>
                  <a:pt x="976595" y="1967459"/>
                  <a:pt x="877195" y="1868343"/>
                  <a:pt x="877195" y="1746925"/>
                </a:cubicBezTo>
                <a:cubicBezTo>
                  <a:pt x="877195" y="220534"/>
                  <a:pt x="877195" y="220534"/>
                  <a:pt x="877195" y="220534"/>
                </a:cubicBezTo>
                <a:cubicBezTo>
                  <a:pt x="877195" y="99116"/>
                  <a:pt x="976595" y="0"/>
                  <a:pt x="109587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4" name="Logotype">
            <a:extLst>
              <a:ext uri="{FF2B5EF4-FFF2-40B4-BE49-F238E27FC236}">
                <a16:creationId xmlns:a16="http://schemas.microsoft.com/office/drawing/2014/main" id="{BD2047D7-89C5-B900-5601-F68C312DD512}"/>
              </a:ext>
            </a:extLst>
          </p:cNvPr>
          <p:cNvSpPr>
            <a:spLocks noChangeAspect="1"/>
          </p:cNvSpPr>
          <p:nvPr userDrawn="1"/>
        </p:nvSpPr>
        <p:spPr>
          <a:xfrm>
            <a:off x="10277295" y="6152120"/>
            <a:ext cx="1386000" cy="28885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8035909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rdea Blue">
    <p:bg>
      <p:bgPr>
        <a:solidFill>
          <a:srgbClr val="000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2"/>
            <a:ext cx="5436000" cy="2472849"/>
          </a:xfrm>
        </p:spPr>
        <p:txBody>
          <a:bodyPr>
            <a:noAutofit/>
          </a:bodyPr>
          <a:lstStyle>
            <a:lvl1pPr>
              <a:defRPr sz="4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6176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4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6548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grpSp>
        <p:nvGrpSpPr>
          <p:cNvPr id="17" name="Pulse"/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" name="Logotype">
            <a:extLst>
              <a:ext uri="{FF2B5EF4-FFF2-40B4-BE49-F238E27FC236}">
                <a16:creationId xmlns:a16="http://schemas.microsoft.com/office/drawing/2014/main" id="{6A1547BB-290B-9302-EA1B-3A107CE0112D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28885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47260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5436000" cy="24732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294800"/>
            <a:ext cx="5436000" cy="360083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4773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025600"/>
            <a:ext cx="5436000" cy="2160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grpSp>
        <p:nvGrpSpPr>
          <p:cNvPr id="10" name="Pulse">
            <a:extLst>
              <a:ext uri="{FF2B5EF4-FFF2-40B4-BE49-F238E27FC236}">
                <a16:creationId xmlns:a16="http://schemas.microsoft.com/office/drawing/2014/main" id="{5E5D37B7-0D84-24B3-1D0F-520B0EC00344}"/>
              </a:ext>
            </a:extLst>
          </p:cNvPr>
          <p:cNvGrpSpPr/>
          <p:nvPr userDrawn="1"/>
        </p:nvGrpSpPr>
        <p:grpSpPr>
          <a:xfrm>
            <a:off x="6964846" y="941098"/>
            <a:ext cx="5232032" cy="5299513"/>
            <a:chOff x="8751888" y="3030538"/>
            <a:chExt cx="3446462" cy="3490913"/>
          </a:xfrm>
          <a:solidFill>
            <a:schemeClr val="bg2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04FB1EB-FF6E-F6B7-8991-2A63FC2A1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9AF11C8-7F8F-F7C8-62A8-CCAF6B9D7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FB5136C4-3187-35EB-C589-E310B31785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57B1AA-DAD1-3C37-DE15-09A23C883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28A911A6-7D23-992A-499B-E8DFD0C4B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BFB7346-42D2-6E66-9653-1C8E1CB794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Logotype">
            <a:extLst>
              <a:ext uri="{FF2B5EF4-FFF2-40B4-BE49-F238E27FC236}">
                <a16:creationId xmlns:a16="http://schemas.microsoft.com/office/drawing/2014/main" id="{8E544899-07C5-C614-769D-DA6A88187FC8}"/>
              </a:ext>
            </a:extLst>
          </p:cNvPr>
          <p:cNvSpPr>
            <a:spLocks noChangeAspect="1"/>
          </p:cNvSpPr>
          <p:nvPr userDrawn="1"/>
        </p:nvSpPr>
        <p:spPr>
          <a:xfrm>
            <a:off x="641350" y="530890"/>
            <a:ext cx="1386000" cy="28885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6754241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60083"/>
            <a:ext cx="7200000" cy="72016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add agenda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tabLst>
                <a:tab pos="5004000" algn="r"/>
              </a:tabLst>
              <a:defRPr sz="1600">
                <a:solidFill>
                  <a:schemeClr val="bg1"/>
                </a:solidFill>
              </a:defRPr>
            </a:lvl1pPr>
            <a:lvl2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2pPr>
            <a:lvl3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3pPr>
            <a:lvl4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4pPr>
            <a:lvl5pPr>
              <a:tabLst>
                <a:tab pos="5004000" algn="r"/>
              </a:tabLst>
              <a:defRPr sz="12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Logotype, static">
            <a:extLst>
              <a:ext uri="{FF2B5EF4-FFF2-40B4-BE49-F238E27FC236}">
                <a16:creationId xmlns:a16="http://schemas.microsoft.com/office/drawing/2014/main" id="{17C67F4D-39A7-4665-5442-B164D1DECA70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601434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086580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Blue">
    <p:bg>
      <p:bgPr>
        <a:solidFill>
          <a:srgbClr val="E5F2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3481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0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0" name="Logotype, static">
            <a:extLst>
              <a:ext uri="{FF2B5EF4-FFF2-40B4-BE49-F238E27FC236}">
                <a16:creationId xmlns:a16="http://schemas.microsoft.com/office/drawing/2014/main" id="{4CDFEBFF-56BA-BA38-B9E3-B6FC44861925}"/>
              </a:ext>
            </a:extLst>
          </p:cNvPr>
          <p:cNvSpPr>
            <a:spLocks noChangeAspect="1"/>
          </p:cNvSpPr>
          <p:nvPr userDrawn="1"/>
        </p:nvSpPr>
        <p:spPr>
          <a:xfrm>
            <a:off x="10689559" y="6389370"/>
            <a:ext cx="864000" cy="180067"/>
          </a:xfrm>
          <a:custGeom>
            <a:avLst/>
            <a:gdLst>
              <a:gd name="connsiteX0" fmla="*/ 1189292 w 1295686"/>
              <a:gd name="connsiteY0" fmla="*/ 102299 h 270035"/>
              <a:gd name="connsiteX1" fmla="*/ 1128522 w 1295686"/>
              <a:gd name="connsiteY1" fmla="*/ 170593 h 270035"/>
              <a:gd name="connsiteX2" fmla="*/ 1181576 w 1295686"/>
              <a:gd name="connsiteY2" fmla="*/ 224219 h 270035"/>
              <a:gd name="connsiteX3" fmla="*/ 1250537 w 1295686"/>
              <a:gd name="connsiteY3" fmla="*/ 166688 h 270035"/>
              <a:gd name="connsiteX4" fmla="*/ 1250442 w 1295686"/>
              <a:gd name="connsiteY4" fmla="*/ 166688 h 270035"/>
              <a:gd name="connsiteX5" fmla="*/ 1250442 w 1295686"/>
              <a:gd name="connsiteY5" fmla="*/ 160306 h 270035"/>
              <a:gd name="connsiteX6" fmla="*/ 1189292 w 1295686"/>
              <a:gd name="connsiteY6" fmla="*/ 102299 h 270035"/>
              <a:gd name="connsiteX7" fmla="*/ 717519 w 1295686"/>
              <a:gd name="connsiteY7" fmla="*/ 102299 h 270035"/>
              <a:gd name="connsiteX8" fmla="*/ 656749 w 1295686"/>
              <a:gd name="connsiteY8" fmla="*/ 170593 h 270035"/>
              <a:gd name="connsiteX9" fmla="*/ 709803 w 1295686"/>
              <a:gd name="connsiteY9" fmla="*/ 224218 h 270035"/>
              <a:gd name="connsiteX10" fmla="*/ 778764 w 1295686"/>
              <a:gd name="connsiteY10" fmla="*/ 166687 h 270035"/>
              <a:gd name="connsiteX11" fmla="*/ 778669 w 1295686"/>
              <a:gd name="connsiteY11" fmla="*/ 166687 h 270035"/>
              <a:gd name="connsiteX12" fmla="*/ 778669 w 1295686"/>
              <a:gd name="connsiteY12" fmla="*/ 160306 h 270035"/>
              <a:gd name="connsiteX13" fmla="*/ 717519 w 1295686"/>
              <a:gd name="connsiteY13" fmla="*/ 102299 h 270035"/>
              <a:gd name="connsiteX14" fmla="*/ 366808 w 1295686"/>
              <a:gd name="connsiteY14" fmla="*/ 102299 h 270035"/>
              <a:gd name="connsiteX15" fmla="*/ 305657 w 1295686"/>
              <a:gd name="connsiteY15" fmla="*/ 163449 h 270035"/>
              <a:gd name="connsiteX16" fmla="*/ 366808 w 1295686"/>
              <a:gd name="connsiteY16" fmla="*/ 224600 h 270035"/>
              <a:gd name="connsiteX17" fmla="*/ 427958 w 1295686"/>
              <a:gd name="connsiteY17" fmla="*/ 163449 h 270035"/>
              <a:gd name="connsiteX18" fmla="*/ 366808 w 1295686"/>
              <a:gd name="connsiteY18" fmla="*/ 102299 h 270035"/>
              <a:gd name="connsiteX19" fmla="*/ 962039 w 1295686"/>
              <a:gd name="connsiteY19" fmla="*/ 96385 h 270035"/>
              <a:gd name="connsiteX20" fmla="*/ 938499 w 1295686"/>
              <a:gd name="connsiteY20" fmla="*/ 100585 h 270035"/>
              <a:gd name="connsiteX21" fmla="*/ 896779 w 1295686"/>
              <a:gd name="connsiteY21" fmla="*/ 159068 h 270035"/>
              <a:gd name="connsiteX22" fmla="*/ 896779 w 1295686"/>
              <a:gd name="connsiteY22" fmla="*/ 159164 h 270035"/>
              <a:gd name="connsiteX23" fmla="*/ 1011746 w 1295686"/>
              <a:gd name="connsiteY23" fmla="*/ 127541 h 270035"/>
              <a:gd name="connsiteX24" fmla="*/ 962039 w 1295686"/>
              <a:gd name="connsiteY24" fmla="*/ 96385 h 270035"/>
              <a:gd name="connsiteX25" fmla="*/ 1181005 w 1295686"/>
              <a:gd name="connsiteY25" fmla="*/ 57436 h 270035"/>
              <a:gd name="connsiteX26" fmla="*/ 1295686 w 1295686"/>
              <a:gd name="connsiteY26" fmla="*/ 165354 h 270035"/>
              <a:gd name="connsiteX27" fmla="*/ 1295686 w 1295686"/>
              <a:gd name="connsiteY27" fmla="*/ 266700 h 270035"/>
              <a:gd name="connsiteX28" fmla="*/ 1254538 w 1295686"/>
              <a:gd name="connsiteY28" fmla="*/ 266700 h 270035"/>
              <a:gd name="connsiteX29" fmla="*/ 1254538 w 1295686"/>
              <a:gd name="connsiteY29" fmla="*/ 235458 h 270035"/>
              <a:gd name="connsiteX30" fmla="*/ 1189292 w 1295686"/>
              <a:gd name="connsiteY30" fmla="*/ 269558 h 270035"/>
              <a:gd name="connsiteX31" fmla="*/ 1083278 w 1295686"/>
              <a:gd name="connsiteY31" fmla="*/ 156591 h 270035"/>
              <a:gd name="connsiteX32" fmla="*/ 1181005 w 1295686"/>
              <a:gd name="connsiteY32" fmla="*/ 57531 h 270035"/>
              <a:gd name="connsiteX33" fmla="*/ 956311 w 1295686"/>
              <a:gd name="connsiteY33" fmla="*/ 57246 h 270035"/>
              <a:gd name="connsiteX34" fmla="*/ 956311 w 1295686"/>
              <a:gd name="connsiteY34" fmla="*/ 57341 h 270035"/>
              <a:gd name="connsiteX35" fmla="*/ 1064134 w 1295686"/>
              <a:gd name="connsiteY35" fmla="*/ 151924 h 270035"/>
              <a:gd name="connsiteX36" fmla="*/ 904876 w 1295686"/>
              <a:gd name="connsiteY36" fmla="*/ 195359 h 270035"/>
              <a:gd name="connsiteX37" fmla="*/ 970503 w 1295686"/>
              <a:gd name="connsiteY37" fmla="*/ 227172 h 270035"/>
              <a:gd name="connsiteX38" fmla="*/ 1016413 w 1295686"/>
              <a:gd name="connsiteY38" fmla="*/ 191930 h 270035"/>
              <a:gd name="connsiteX39" fmla="*/ 1057371 w 1295686"/>
              <a:gd name="connsiteY39" fmla="*/ 204121 h 270035"/>
              <a:gd name="connsiteX40" fmla="*/ 958787 w 1295686"/>
              <a:gd name="connsiteY40" fmla="*/ 270035 h 270035"/>
              <a:gd name="connsiteX41" fmla="*/ 852488 w 1295686"/>
              <a:gd name="connsiteY41" fmla="*/ 164593 h 270035"/>
              <a:gd name="connsiteX42" fmla="*/ 956311 w 1295686"/>
              <a:gd name="connsiteY42" fmla="*/ 57246 h 270035"/>
              <a:gd name="connsiteX43" fmla="*/ 366903 w 1295686"/>
              <a:gd name="connsiteY43" fmla="*/ 57055 h 270035"/>
              <a:gd name="connsiteX44" fmla="*/ 473298 w 1295686"/>
              <a:gd name="connsiteY44" fmla="*/ 163449 h 270035"/>
              <a:gd name="connsiteX45" fmla="*/ 366903 w 1295686"/>
              <a:gd name="connsiteY45" fmla="*/ 269844 h 270035"/>
              <a:gd name="connsiteX46" fmla="*/ 260509 w 1295686"/>
              <a:gd name="connsiteY46" fmla="*/ 163449 h 270035"/>
              <a:gd name="connsiteX47" fmla="*/ 366903 w 1295686"/>
              <a:gd name="connsiteY47" fmla="*/ 57055 h 270035"/>
              <a:gd name="connsiteX48" fmla="*/ 605885 w 1295686"/>
              <a:gd name="connsiteY48" fmla="*/ 56769 h 270035"/>
              <a:gd name="connsiteX49" fmla="*/ 605885 w 1295686"/>
              <a:gd name="connsiteY49" fmla="*/ 100393 h 270035"/>
              <a:gd name="connsiteX50" fmla="*/ 605981 w 1295686"/>
              <a:gd name="connsiteY50" fmla="*/ 100393 h 270035"/>
              <a:gd name="connsiteX51" fmla="*/ 547307 w 1295686"/>
              <a:gd name="connsiteY51" fmla="*/ 167164 h 270035"/>
              <a:gd name="connsiteX52" fmla="*/ 547402 w 1295686"/>
              <a:gd name="connsiteY52" fmla="*/ 266795 h 270035"/>
              <a:gd name="connsiteX53" fmla="*/ 500920 w 1295686"/>
              <a:gd name="connsiteY53" fmla="*/ 266795 h 270035"/>
              <a:gd name="connsiteX54" fmla="*/ 500920 w 1295686"/>
              <a:gd name="connsiteY54" fmla="*/ 63722 h 270035"/>
              <a:gd name="connsiteX55" fmla="*/ 546164 w 1295686"/>
              <a:gd name="connsiteY55" fmla="*/ 63722 h 270035"/>
              <a:gd name="connsiteX56" fmla="*/ 546164 w 1295686"/>
              <a:gd name="connsiteY56" fmla="*/ 87154 h 270035"/>
              <a:gd name="connsiteX57" fmla="*/ 605885 w 1295686"/>
              <a:gd name="connsiteY57" fmla="*/ 56769 h 270035"/>
              <a:gd name="connsiteX58" fmla="*/ 0 w 1295686"/>
              <a:gd name="connsiteY58" fmla="*/ 21622 h 270035"/>
              <a:gd name="connsiteX59" fmla="*/ 47339 w 1295686"/>
              <a:gd name="connsiteY59" fmla="*/ 21622 h 270035"/>
              <a:gd name="connsiteX60" fmla="*/ 186214 w 1295686"/>
              <a:gd name="connsiteY60" fmla="*/ 185166 h 270035"/>
              <a:gd name="connsiteX61" fmla="*/ 186214 w 1295686"/>
              <a:gd name="connsiteY61" fmla="*/ 21622 h 270035"/>
              <a:gd name="connsiteX62" fmla="*/ 233077 w 1295686"/>
              <a:gd name="connsiteY62" fmla="*/ 21622 h 270035"/>
              <a:gd name="connsiteX63" fmla="*/ 232982 w 1295686"/>
              <a:gd name="connsiteY63" fmla="*/ 266700 h 270035"/>
              <a:gd name="connsiteX64" fmla="*/ 189548 w 1295686"/>
              <a:gd name="connsiteY64" fmla="*/ 266700 h 270035"/>
              <a:gd name="connsiteX65" fmla="*/ 48959 w 1295686"/>
              <a:gd name="connsiteY65" fmla="*/ 102680 h 270035"/>
              <a:gd name="connsiteX66" fmla="*/ 48959 w 1295686"/>
              <a:gd name="connsiteY66" fmla="*/ 266414 h 270035"/>
              <a:gd name="connsiteX67" fmla="*/ 0 w 1295686"/>
              <a:gd name="connsiteY67" fmla="*/ 266414 h 270035"/>
              <a:gd name="connsiteX68" fmla="*/ 780098 w 1295686"/>
              <a:gd name="connsiteY68" fmla="*/ 0 h 270035"/>
              <a:gd name="connsiteX69" fmla="*/ 823722 w 1295686"/>
              <a:gd name="connsiteY69" fmla="*/ 0 h 270035"/>
              <a:gd name="connsiteX70" fmla="*/ 823722 w 1295686"/>
              <a:gd name="connsiteY70" fmla="*/ 161449 h 270035"/>
              <a:gd name="connsiteX71" fmla="*/ 823722 w 1295686"/>
              <a:gd name="connsiteY71" fmla="*/ 163449 h 270035"/>
              <a:gd name="connsiteX72" fmla="*/ 823722 w 1295686"/>
              <a:gd name="connsiteY72" fmla="*/ 165449 h 270035"/>
              <a:gd name="connsiteX73" fmla="*/ 823722 w 1295686"/>
              <a:gd name="connsiteY73" fmla="*/ 266795 h 270035"/>
              <a:gd name="connsiteX74" fmla="*/ 782765 w 1295686"/>
              <a:gd name="connsiteY74" fmla="*/ 266795 h 270035"/>
              <a:gd name="connsiteX75" fmla="*/ 782765 w 1295686"/>
              <a:gd name="connsiteY75" fmla="*/ 239649 h 270035"/>
              <a:gd name="connsiteX76" fmla="*/ 717519 w 1295686"/>
              <a:gd name="connsiteY76" fmla="*/ 269748 h 270035"/>
              <a:gd name="connsiteX77" fmla="*/ 611505 w 1295686"/>
              <a:gd name="connsiteY77" fmla="*/ 156591 h 270035"/>
              <a:gd name="connsiteX78" fmla="*/ 709232 w 1295686"/>
              <a:gd name="connsiteY78" fmla="*/ 57531 h 270035"/>
              <a:gd name="connsiteX79" fmla="*/ 780098 w 1295686"/>
              <a:gd name="connsiteY79" fmla="*/ 79819 h 270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5686" h="270035">
                <a:moveTo>
                  <a:pt x="1189292" y="102299"/>
                </a:moveTo>
                <a:cubicBezTo>
                  <a:pt x="1153192" y="102299"/>
                  <a:pt x="1124426" y="133636"/>
                  <a:pt x="1128522" y="170593"/>
                </a:cubicBezTo>
                <a:cubicBezTo>
                  <a:pt x="1131665" y="198215"/>
                  <a:pt x="1153859" y="220790"/>
                  <a:pt x="1181576" y="224219"/>
                </a:cubicBezTo>
                <a:cubicBezTo>
                  <a:pt x="1217771" y="228695"/>
                  <a:pt x="1248728" y="201549"/>
                  <a:pt x="1250537" y="166688"/>
                </a:cubicBezTo>
                <a:lnTo>
                  <a:pt x="1250442" y="166688"/>
                </a:lnTo>
                <a:lnTo>
                  <a:pt x="1250442" y="160306"/>
                </a:lnTo>
                <a:cubicBezTo>
                  <a:pt x="1248728" y="128016"/>
                  <a:pt x="1222058" y="102299"/>
                  <a:pt x="1189292" y="102299"/>
                </a:cubicBezTo>
                <a:close/>
                <a:moveTo>
                  <a:pt x="717519" y="102299"/>
                </a:moveTo>
                <a:cubicBezTo>
                  <a:pt x="681419" y="102299"/>
                  <a:pt x="652653" y="133636"/>
                  <a:pt x="656749" y="170593"/>
                </a:cubicBezTo>
                <a:cubicBezTo>
                  <a:pt x="659892" y="198215"/>
                  <a:pt x="682086" y="220789"/>
                  <a:pt x="709803" y="224218"/>
                </a:cubicBezTo>
                <a:cubicBezTo>
                  <a:pt x="745998" y="228695"/>
                  <a:pt x="776955" y="201549"/>
                  <a:pt x="778764" y="166687"/>
                </a:cubicBezTo>
                <a:lnTo>
                  <a:pt x="778669" y="166687"/>
                </a:lnTo>
                <a:lnTo>
                  <a:pt x="778669" y="160306"/>
                </a:lnTo>
                <a:cubicBezTo>
                  <a:pt x="776955" y="128016"/>
                  <a:pt x="750285" y="102299"/>
                  <a:pt x="717519" y="102299"/>
                </a:cubicBezTo>
                <a:close/>
                <a:moveTo>
                  <a:pt x="366808" y="102299"/>
                </a:moveTo>
                <a:cubicBezTo>
                  <a:pt x="333089" y="102299"/>
                  <a:pt x="305657" y="129731"/>
                  <a:pt x="305657" y="163449"/>
                </a:cubicBezTo>
                <a:cubicBezTo>
                  <a:pt x="305657" y="197168"/>
                  <a:pt x="332994" y="224600"/>
                  <a:pt x="366808" y="224600"/>
                </a:cubicBezTo>
                <a:cubicBezTo>
                  <a:pt x="400527" y="224600"/>
                  <a:pt x="427958" y="197168"/>
                  <a:pt x="427958" y="163449"/>
                </a:cubicBezTo>
                <a:cubicBezTo>
                  <a:pt x="427958" y="129731"/>
                  <a:pt x="400527" y="102299"/>
                  <a:pt x="366808" y="102299"/>
                </a:cubicBezTo>
                <a:close/>
                <a:moveTo>
                  <a:pt x="962039" y="96385"/>
                </a:moveTo>
                <a:cubicBezTo>
                  <a:pt x="954578" y="96227"/>
                  <a:pt x="946666" y="97513"/>
                  <a:pt x="938499" y="100585"/>
                </a:cubicBezTo>
                <a:cubicBezTo>
                  <a:pt x="909733" y="111348"/>
                  <a:pt x="896779" y="136875"/>
                  <a:pt x="896779" y="159068"/>
                </a:cubicBezTo>
                <a:lnTo>
                  <a:pt x="896779" y="159164"/>
                </a:lnTo>
                <a:lnTo>
                  <a:pt x="1011746" y="127541"/>
                </a:lnTo>
                <a:cubicBezTo>
                  <a:pt x="1002744" y="110324"/>
                  <a:pt x="984421" y="96858"/>
                  <a:pt x="962039" y="96385"/>
                </a:cubicBezTo>
                <a:close/>
                <a:moveTo>
                  <a:pt x="1181005" y="57436"/>
                </a:moveTo>
                <a:cubicBezTo>
                  <a:pt x="1242060" y="52673"/>
                  <a:pt x="1295686" y="99346"/>
                  <a:pt x="1295686" y="165354"/>
                </a:cubicBezTo>
                <a:lnTo>
                  <a:pt x="1295686" y="266700"/>
                </a:lnTo>
                <a:lnTo>
                  <a:pt x="1254538" y="266700"/>
                </a:lnTo>
                <a:lnTo>
                  <a:pt x="1254538" y="235458"/>
                </a:lnTo>
                <a:cubicBezTo>
                  <a:pt x="1241108" y="258604"/>
                  <a:pt x="1211295" y="269558"/>
                  <a:pt x="1189292" y="269558"/>
                </a:cubicBezTo>
                <a:cubicBezTo>
                  <a:pt x="1128332" y="269558"/>
                  <a:pt x="1079373" y="218408"/>
                  <a:pt x="1083278" y="156591"/>
                </a:cubicBezTo>
                <a:cubicBezTo>
                  <a:pt x="1086612" y="104299"/>
                  <a:pt x="1128236" y="61627"/>
                  <a:pt x="1181005" y="57531"/>
                </a:cubicBezTo>
                <a:close/>
                <a:moveTo>
                  <a:pt x="956311" y="57246"/>
                </a:moveTo>
                <a:lnTo>
                  <a:pt x="956311" y="57341"/>
                </a:lnTo>
                <a:cubicBezTo>
                  <a:pt x="1023557" y="55436"/>
                  <a:pt x="1059466" y="111062"/>
                  <a:pt x="1064134" y="151924"/>
                </a:cubicBezTo>
                <a:lnTo>
                  <a:pt x="904876" y="195359"/>
                </a:lnTo>
                <a:cubicBezTo>
                  <a:pt x="915258" y="214980"/>
                  <a:pt x="941737" y="232506"/>
                  <a:pt x="970503" y="227172"/>
                </a:cubicBezTo>
                <a:cubicBezTo>
                  <a:pt x="991077" y="223267"/>
                  <a:pt x="1008984" y="208693"/>
                  <a:pt x="1016413" y="191930"/>
                </a:cubicBezTo>
                <a:lnTo>
                  <a:pt x="1057371" y="204121"/>
                </a:lnTo>
                <a:cubicBezTo>
                  <a:pt x="1041274" y="244889"/>
                  <a:pt x="1000507" y="270035"/>
                  <a:pt x="958787" y="270035"/>
                </a:cubicBezTo>
                <a:cubicBezTo>
                  <a:pt x="898970" y="270035"/>
                  <a:pt x="852488" y="222029"/>
                  <a:pt x="852488" y="164593"/>
                </a:cubicBezTo>
                <a:cubicBezTo>
                  <a:pt x="852488" y="102299"/>
                  <a:pt x="900494" y="58770"/>
                  <a:pt x="956311" y="57246"/>
                </a:cubicBezTo>
                <a:close/>
                <a:moveTo>
                  <a:pt x="366903" y="57055"/>
                </a:moveTo>
                <a:cubicBezTo>
                  <a:pt x="425673" y="57055"/>
                  <a:pt x="473298" y="104680"/>
                  <a:pt x="473298" y="163449"/>
                </a:cubicBezTo>
                <a:cubicBezTo>
                  <a:pt x="473298" y="222219"/>
                  <a:pt x="425673" y="269844"/>
                  <a:pt x="366903" y="269844"/>
                </a:cubicBezTo>
                <a:cubicBezTo>
                  <a:pt x="308134" y="269844"/>
                  <a:pt x="260509" y="222219"/>
                  <a:pt x="260509" y="163449"/>
                </a:cubicBezTo>
                <a:cubicBezTo>
                  <a:pt x="260509" y="104680"/>
                  <a:pt x="308134" y="57055"/>
                  <a:pt x="366903" y="57055"/>
                </a:cubicBezTo>
                <a:close/>
                <a:moveTo>
                  <a:pt x="605885" y="56769"/>
                </a:moveTo>
                <a:lnTo>
                  <a:pt x="605885" y="100393"/>
                </a:lnTo>
                <a:lnTo>
                  <a:pt x="605981" y="100393"/>
                </a:lnTo>
                <a:cubicBezTo>
                  <a:pt x="574453" y="102013"/>
                  <a:pt x="547307" y="120301"/>
                  <a:pt x="547307" y="167164"/>
                </a:cubicBezTo>
                <a:cubicBezTo>
                  <a:pt x="547307" y="205073"/>
                  <a:pt x="547402" y="204025"/>
                  <a:pt x="547402" y="266795"/>
                </a:cubicBezTo>
                <a:lnTo>
                  <a:pt x="500920" y="266795"/>
                </a:lnTo>
                <a:lnTo>
                  <a:pt x="500920" y="63722"/>
                </a:lnTo>
                <a:lnTo>
                  <a:pt x="546164" y="63722"/>
                </a:lnTo>
                <a:lnTo>
                  <a:pt x="546164" y="87154"/>
                </a:lnTo>
                <a:cubicBezTo>
                  <a:pt x="552069" y="76295"/>
                  <a:pt x="566166" y="56769"/>
                  <a:pt x="605885" y="56769"/>
                </a:cubicBezTo>
                <a:close/>
                <a:moveTo>
                  <a:pt x="0" y="21622"/>
                </a:moveTo>
                <a:lnTo>
                  <a:pt x="47339" y="21622"/>
                </a:lnTo>
                <a:lnTo>
                  <a:pt x="186214" y="185166"/>
                </a:lnTo>
                <a:lnTo>
                  <a:pt x="186214" y="21622"/>
                </a:lnTo>
                <a:lnTo>
                  <a:pt x="233077" y="21622"/>
                </a:lnTo>
                <a:lnTo>
                  <a:pt x="232982" y="266700"/>
                </a:lnTo>
                <a:lnTo>
                  <a:pt x="189548" y="266700"/>
                </a:lnTo>
                <a:lnTo>
                  <a:pt x="48959" y="102680"/>
                </a:lnTo>
                <a:lnTo>
                  <a:pt x="48959" y="266414"/>
                </a:lnTo>
                <a:lnTo>
                  <a:pt x="0" y="266414"/>
                </a:lnTo>
                <a:close/>
                <a:moveTo>
                  <a:pt x="780098" y="0"/>
                </a:moveTo>
                <a:lnTo>
                  <a:pt x="823722" y="0"/>
                </a:lnTo>
                <a:lnTo>
                  <a:pt x="823722" y="161449"/>
                </a:lnTo>
                <a:cubicBezTo>
                  <a:pt x="823722" y="162115"/>
                  <a:pt x="823722" y="162782"/>
                  <a:pt x="823722" y="163449"/>
                </a:cubicBezTo>
                <a:cubicBezTo>
                  <a:pt x="823722" y="164116"/>
                  <a:pt x="823722" y="164783"/>
                  <a:pt x="823722" y="165449"/>
                </a:cubicBezTo>
                <a:lnTo>
                  <a:pt x="823722" y="266795"/>
                </a:lnTo>
                <a:cubicBezTo>
                  <a:pt x="823722" y="266795"/>
                  <a:pt x="782765" y="266795"/>
                  <a:pt x="782765" y="266795"/>
                </a:cubicBezTo>
                <a:lnTo>
                  <a:pt x="782765" y="239649"/>
                </a:lnTo>
                <a:cubicBezTo>
                  <a:pt x="771906" y="258889"/>
                  <a:pt x="740283" y="269748"/>
                  <a:pt x="717519" y="269748"/>
                </a:cubicBezTo>
                <a:cubicBezTo>
                  <a:pt x="656559" y="269748"/>
                  <a:pt x="607600" y="218408"/>
                  <a:pt x="611505" y="156591"/>
                </a:cubicBezTo>
                <a:cubicBezTo>
                  <a:pt x="614839" y="104299"/>
                  <a:pt x="656940" y="61722"/>
                  <a:pt x="709232" y="57531"/>
                </a:cubicBezTo>
                <a:cubicBezTo>
                  <a:pt x="737235" y="55245"/>
                  <a:pt x="769716" y="66104"/>
                  <a:pt x="780098" y="79819"/>
                </a:cubicBezTo>
                <a:close/>
              </a:path>
            </a:pathLst>
          </a:custGeom>
          <a:solidFill>
            <a:srgbClr val="0000A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5" name="xxLanguageTextBox">
            <a:extLst>
              <a:ext uri="{FF2B5EF4-FFF2-40B4-BE49-F238E27FC236}">
                <a16:creationId xmlns:a16="http://schemas.microsoft.com/office/drawing/2014/main" id="{4F15236A-32DA-5F07-2EDB-440996184A6A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55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53" r:id="rId2"/>
    <p:sldLayoutId id="2147483755" r:id="rId3"/>
    <p:sldLayoutId id="2147483730" r:id="rId4"/>
    <p:sldLayoutId id="2147483752" r:id="rId5"/>
    <p:sldLayoutId id="2147483728" r:id="rId6"/>
    <p:sldLayoutId id="2147483748" r:id="rId7"/>
    <p:sldLayoutId id="2147483650" r:id="rId8"/>
    <p:sldLayoutId id="2147483749" r:id="rId9"/>
    <p:sldLayoutId id="2147483750" r:id="rId10"/>
    <p:sldLayoutId id="2147483737" r:id="rId11"/>
    <p:sldLayoutId id="2147483652" r:id="rId12"/>
    <p:sldLayoutId id="2147483738" r:id="rId13"/>
    <p:sldLayoutId id="2147483663" r:id="rId14"/>
    <p:sldLayoutId id="2147483655" r:id="rId15"/>
    <p:sldLayoutId id="2147483751" r:id="rId16"/>
    <p:sldLayoutId id="2147483742" r:id="rId17"/>
    <p:sldLayoutId id="2147483660" r:id="rId18"/>
    <p:sldLayoutId id="2147483724" r:id="rId19"/>
    <p:sldLayoutId id="2147483725" r:id="rId20"/>
    <p:sldLayoutId id="2147483735" r:id="rId21"/>
    <p:sldLayoutId id="2147483743" r:id="rId22"/>
    <p:sldLayoutId id="2147483741" r:id="rId23"/>
    <p:sldLayoutId id="2147483747" r:id="rId24"/>
    <p:sldLayoutId id="2147483733" r:id="rId25"/>
  </p:sldLayoutIdLst>
  <p:hf hdr="0" ftr="0" dt="0"/>
  <p:txStyles>
    <p:titleStyle>
      <a:lvl1pPr algn="l" defTabSz="1088776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87" indent="-215487" algn="l" defTabSz="1088776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71517" indent="-214326" algn="l" defTabSz="1088776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28708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85900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43091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994134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522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910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298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408" userDrawn="1">
          <p15:clr>
            <a:srgbClr val="F26B43"/>
          </p15:clr>
        </p15:guide>
        <p15:guide id="4" pos="7284" userDrawn="1">
          <p15:clr>
            <a:srgbClr val="F26B43"/>
          </p15:clr>
        </p15:guide>
        <p15:guide id="5" orient="horz" pos="224" userDrawn="1">
          <p15:clr>
            <a:srgbClr val="F26B43"/>
          </p15:clr>
        </p15:guide>
        <p15:guide id="6" orient="horz" pos="686" userDrawn="1">
          <p15:clr>
            <a:srgbClr val="F26B43"/>
          </p15:clr>
        </p15:guide>
        <p15:guide id="7" orient="horz" pos="836" userDrawn="1">
          <p15:clr>
            <a:srgbClr val="F26B43"/>
          </p15:clr>
        </p15:guide>
        <p15:guide id="8" orient="horz" pos="36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6" Type="http://schemas.openxmlformats.org/officeDocument/2006/relationships/hyperlink" Target="https://www.edf.org/sites/default/files/content/investor_guide_final.pdf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58C313E-5B07-430C-8C24-1B09D6D973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58C313E-5B07-430C-8C24-1B09D6D973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F60EF64-4216-4541-B9B3-B9304D4C954F}"/>
              </a:ext>
            </a:extLst>
          </p:cNvPr>
          <p:cNvSpPr/>
          <p:nvPr/>
        </p:nvSpPr>
        <p:spPr>
          <a:xfrm>
            <a:off x="633843" y="4902192"/>
            <a:ext cx="10913334" cy="9082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bg1">
                <a:lumMod val="65000"/>
              </a:schemeClr>
            </a:soli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1982294"/>
                      <a:gd name="connsiteY0" fmla="*/ 0 h 744984"/>
                      <a:gd name="connsiteX1" fmla="*/ 475751 w 1982294"/>
                      <a:gd name="connsiteY1" fmla="*/ 0 h 744984"/>
                      <a:gd name="connsiteX2" fmla="*/ 971324 w 1982294"/>
                      <a:gd name="connsiteY2" fmla="*/ 0 h 744984"/>
                      <a:gd name="connsiteX3" fmla="*/ 1486721 w 1982294"/>
                      <a:gd name="connsiteY3" fmla="*/ 0 h 744984"/>
                      <a:gd name="connsiteX4" fmla="*/ 1982294 w 1982294"/>
                      <a:gd name="connsiteY4" fmla="*/ 0 h 744984"/>
                      <a:gd name="connsiteX5" fmla="*/ 1982294 w 1982294"/>
                      <a:gd name="connsiteY5" fmla="*/ 379942 h 744984"/>
                      <a:gd name="connsiteX6" fmla="*/ 1982294 w 1982294"/>
                      <a:gd name="connsiteY6" fmla="*/ 744984 h 744984"/>
                      <a:gd name="connsiteX7" fmla="*/ 1447075 w 1982294"/>
                      <a:gd name="connsiteY7" fmla="*/ 744984 h 744984"/>
                      <a:gd name="connsiteX8" fmla="*/ 911855 w 1982294"/>
                      <a:gd name="connsiteY8" fmla="*/ 744984 h 744984"/>
                      <a:gd name="connsiteX9" fmla="*/ 0 w 1982294"/>
                      <a:gd name="connsiteY9" fmla="*/ 744984 h 744984"/>
                      <a:gd name="connsiteX10" fmla="*/ 0 w 1982294"/>
                      <a:gd name="connsiteY10" fmla="*/ 379942 h 744984"/>
                      <a:gd name="connsiteX11" fmla="*/ 0 w 1982294"/>
                      <a:gd name="connsiteY11" fmla="*/ 0 h 744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982294" h="744984" fill="none" extrusionOk="0">
                        <a:moveTo>
                          <a:pt x="0" y="0"/>
                        </a:moveTo>
                        <a:cubicBezTo>
                          <a:pt x="174327" y="-50647"/>
                          <a:pt x="267766" y="5373"/>
                          <a:pt x="475751" y="0"/>
                        </a:cubicBezTo>
                        <a:cubicBezTo>
                          <a:pt x="683736" y="-5373"/>
                          <a:pt x="765680" y="29937"/>
                          <a:pt x="971324" y="0"/>
                        </a:cubicBezTo>
                        <a:cubicBezTo>
                          <a:pt x="1176968" y="-29937"/>
                          <a:pt x="1248886" y="10060"/>
                          <a:pt x="1486721" y="0"/>
                        </a:cubicBezTo>
                        <a:cubicBezTo>
                          <a:pt x="1724556" y="-10060"/>
                          <a:pt x="1845916" y="7699"/>
                          <a:pt x="1982294" y="0"/>
                        </a:cubicBezTo>
                        <a:cubicBezTo>
                          <a:pt x="1995022" y="170621"/>
                          <a:pt x="1978950" y="251070"/>
                          <a:pt x="1982294" y="379942"/>
                        </a:cubicBezTo>
                        <a:cubicBezTo>
                          <a:pt x="1985638" y="508814"/>
                          <a:pt x="1938776" y="634749"/>
                          <a:pt x="1982294" y="744984"/>
                        </a:cubicBezTo>
                        <a:cubicBezTo>
                          <a:pt x="1721378" y="787283"/>
                          <a:pt x="1695168" y="683881"/>
                          <a:pt x="1447075" y="744984"/>
                        </a:cubicBezTo>
                        <a:cubicBezTo>
                          <a:pt x="1198982" y="806087"/>
                          <a:pt x="1059159" y="712816"/>
                          <a:pt x="911855" y="744984"/>
                        </a:cubicBezTo>
                        <a:cubicBezTo>
                          <a:pt x="764551" y="777152"/>
                          <a:pt x="356260" y="712267"/>
                          <a:pt x="0" y="744984"/>
                        </a:cubicBezTo>
                        <a:cubicBezTo>
                          <a:pt x="-24710" y="626850"/>
                          <a:pt x="36781" y="482205"/>
                          <a:pt x="0" y="379942"/>
                        </a:cubicBezTo>
                        <a:cubicBezTo>
                          <a:pt x="-36781" y="277679"/>
                          <a:pt x="36993" y="81678"/>
                          <a:pt x="0" y="0"/>
                        </a:cubicBezTo>
                        <a:close/>
                      </a:path>
                      <a:path w="1982294" h="744984" stroke="0" extrusionOk="0">
                        <a:moveTo>
                          <a:pt x="0" y="0"/>
                        </a:moveTo>
                        <a:cubicBezTo>
                          <a:pt x="130481" y="-50372"/>
                          <a:pt x="353098" y="22731"/>
                          <a:pt x="475751" y="0"/>
                        </a:cubicBezTo>
                        <a:cubicBezTo>
                          <a:pt x="598404" y="-22731"/>
                          <a:pt x="747573" y="42435"/>
                          <a:pt x="911855" y="0"/>
                        </a:cubicBezTo>
                        <a:cubicBezTo>
                          <a:pt x="1076137" y="-42435"/>
                          <a:pt x="1209654" y="17143"/>
                          <a:pt x="1447075" y="0"/>
                        </a:cubicBezTo>
                        <a:cubicBezTo>
                          <a:pt x="1684496" y="-17143"/>
                          <a:pt x="1770821" y="28251"/>
                          <a:pt x="1982294" y="0"/>
                        </a:cubicBezTo>
                        <a:cubicBezTo>
                          <a:pt x="2014026" y="126695"/>
                          <a:pt x="1970934" y="243311"/>
                          <a:pt x="1982294" y="365042"/>
                        </a:cubicBezTo>
                        <a:cubicBezTo>
                          <a:pt x="1993654" y="486773"/>
                          <a:pt x="1976528" y="559964"/>
                          <a:pt x="1982294" y="744984"/>
                        </a:cubicBezTo>
                        <a:cubicBezTo>
                          <a:pt x="1745005" y="769454"/>
                          <a:pt x="1624501" y="698690"/>
                          <a:pt x="1486721" y="744984"/>
                        </a:cubicBezTo>
                        <a:cubicBezTo>
                          <a:pt x="1348941" y="791278"/>
                          <a:pt x="1127907" y="717751"/>
                          <a:pt x="951501" y="744984"/>
                        </a:cubicBezTo>
                        <a:cubicBezTo>
                          <a:pt x="775095" y="772217"/>
                          <a:pt x="677645" y="738853"/>
                          <a:pt x="515396" y="744984"/>
                        </a:cubicBezTo>
                        <a:cubicBezTo>
                          <a:pt x="353147" y="751115"/>
                          <a:pt x="166435" y="721740"/>
                          <a:pt x="0" y="744984"/>
                        </a:cubicBezTo>
                        <a:cubicBezTo>
                          <a:pt x="-24526" y="649470"/>
                          <a:pt x="44112" y="545392"/>
                          <a:pt x="0" y="372492"/>
                        </a:cubicBezTo>
                        <a:cubicBezTo>
                          <a:pt x="-44112" y="199592"/>
                          <a:pt x="18021" y="9044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8948" y="360083"/>
            <a:ext cx="10610551" cy="720167"/>
          </a:xfrm>
        </p:spPr>
        <p:txBody>
          <a:bodyPr vert="horz"/>
          <a:lstStyle/>
          <a:p>
            <a:r>
              <a:rPr lang="en-GB" dirty="0">
                <a:latin typeface="Nordea Sans Large Black" panose="00000A00000000000000" pitchFamily="50" charset="0"/>
              </a:rPr>
              <a:t>Nordea Asset </a:t>
            </a:r>
            <a:r>
              <a:rPr lang="en-GB">
                <a:latin typeface="Nordea Sans Large Black" panose="00000A00000000000000" pitchFamily="50" charset="0"/>
              </a:rPr>
              <a:t>Management framework </a:t>
            </a:r>
            <a:r>
              <a:rPr lang="en-GB" dirty="0">
                <a:latin typeface="Nordea Sans Large Black" panose="00000A00000000000000" pitchFamily="50" charset="0"/>
              </a:rPr>
              <a:t>for assessing methane maturity</a:t>
            </a:r>
            <a:br>
              <a:rPr lang="en-GB" dirty="0"/>
            </a:br>
            <a:r>
              <a:rPr lang="en-GB" dirty="0"/>
              <a:t> 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647697" y="1027108"/>
          <a:ext cx="10899480" cy="3830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920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9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616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764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en-GB" sz="1200" b="1" dirty="0">
                          <a:solidFill>
                            <a:schemeClr val="tx2"/>
                          </a:solidFill>
                        </a:rPr>
                        <a:t>Focu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200" b="1" dirty="0">
                          <a:solidFill>
                            <a:schemeClr val="tx2"/>
                          </a:solidFill>
                        </a:rPr>
                        <a:t>Beginner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200" b="1" dirty="0">
                          <a:solidFill>
                            <a:schemeClr val="tx2"/>
                          </a:solidFill>
                        </a:rPr>
                        <a:t>Intermediate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200" b="1" dirty="0">
                          <a:solidFill>
                            <a:schemeClr val="tx2"/>
                          </a:solidFill>
                        </a:rPr>
                        <a:t>Advanced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en-GB" sz="1100" b="1" dirty="0"/>
                        <a:t>Meas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sz="1100" dirty="0"/>
                        <a:t>Estimates emissions using generic emissions factors</a:t>
                      </a:r>
                    </a:p>
                    <a:p>
                      <a:pPr marL="171450" marR="0" lvl="0" indent="-17145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fld id="{6D33FCA3-E857-450E-B20E-2538A622BAB3}" type="datetime'D''ev''''eloping plans to'' take measurements within one year'">
                        <a:rPr lang="en-GB" altLang="en-US" sz="1100" smtClean="0"/>
                        <a:pPr marL="171450" marR="0" lvl="0" indent="-171450" algn="l" defTabSz="1088776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" panose="05000000000000000000" pitchFamily="2" charset="2"/>
                          <a:buChar char="q"/>
                          <a:tabLst/>
                          <a:defRPr/>
                        </a:pPr>
                        <a:t>Developing plans to take measurements within one year</a:t>
                      </a:fld>
                      <a:endParaRPr lang="en-GB" sz="1100" dirty="0"/>
                    </a:p>
                    <a:p>
                      <a:pPr marL="0" indent="0" rtl="0">
                        <a:buFont typeface="Wingdings" panose="05000000000000000000" pitchFamily="2" charset="2"/>
                        <a:buNone/>
                      </a:pPr>
                      <a:endParaRPr lang="en-GB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ategic plan for how and where measurements need to be taken</a:t>
                      </a:r>
                    </a:p>
                    <a:p>
                      <a:pPr marL="171450" marR="0" lvl="0" indent="-17145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GB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s direct measurement to develop company-specific emissions factors </a:t>
                      </a:r>
                    </a:p>
                    <a:p>
                      <a:pPr marL="171450" marR="0" lvl="0" indent="-17145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hares data with international science effor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sz="1100" dirty="0"/>
                        <a:t>Measures all facility emissions 1 or more times every three years 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sz="1100" dirty="0"/>
                        <a:t>Robust use of company-specific emissions factors 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sz="1100" dirty="0"/>
                        <a:t>Active participant in and funding of international science effort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2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/>
                        <a:t>Report</a:t>
                      </a:r>
                      <a:r>
                        <a:rPr lang="en-GB" sz="1100" dirty="0"/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orts one of the recommended methane metrics*</a:t>
                      </a:r>
                    </a:p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fld id="{B7E710A7-8113-4769-A284-A08A77D5FD8D}" type="datetime'Meth''ane emi''ssions rep''orted separat''ely from other GHGs'">
                        <a:rPr lang="en-GB" altLang="en-US" sz="110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pPr marL="171450" indent="-171450" algn="l" defTabSz="1088776" rtl="0" eaLnBrk="1" latinLnBrk="0" hangingPunct="1">
                          <a:buFont typeface="Wingdings" panose="05000000000000000000" pitchFamily="2" charset="2"/>
                          <a:buChar char="q"/>
                        </a:pPr>
                        <a:t>Methane emissions reported separately from other GHGs</a:t>
                      </a:fld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endParaRPr lang="en-GB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orts against 2-3 methane metrics*</a:t>
                      </a:r>
                    </a:p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s best management practice quantitative targets (e.g. conducting LDAR on a % of assets, achieve % reduction from certain emissions source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orts action taken and progress made against all recommend metrics including quantitative reduction targets </a:t>
                      </a:r>
                    </a:p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orts comprehensive management approach </a:t>
                      </a:r>
                    </a:p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orted information audited by a third-party</a:t>
                      </a:r>
                      <a:endParaRPr lang="en-GB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en-GB" sz="1100" b="1" dirty="0"/>
                        <a:t>Redu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sz="1100" dirty="0"/>
                        <a:t>Methane reduction target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altLang="en-US" sz="1100" dirty="0"/>
                        <a:t>Methane emissions rates trending downward to fl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thane emissions rate decreasing </a:t>
                      </a:r>
                    </a:p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opts best management practices for new emissions sources</a:t>
                      </a:r>
                    </a:p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alt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-3 x/year leak inspections</a:t>
                      </a:r>
                    </a:p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utral on regulations </a:t>
                      </a:r>
                    </a:p>
                    <a:p>
                      <a:pPr marL="171450" indent="-171450" algn="l" defTabSz="1088776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% of assets covered under voluntary initiative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sz="1100" dirty="0"/>
                        <a:t>Methane emissions rate and absolute emissions significantly decreasing 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sz="1100" dirty="0"/>
                        <a:t>Substantial retrofits of existing assets 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sz="1100" dirty="0"/>
                        <a:t>4-12 x/year leak inspection 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GB" sz="1100" dirty="0"/>
                        <a:t>Publicly supports regulation 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D8EF34A-BBCA-46E0-8637-94B3CC4E9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4EE056-BA31-4899-B8F4-2AF2BDC3F13D}"/>
              </a:ext>
            </a:extLst>
          </p:cNvPr>
          <p:cNvSpPr txBox="1"/>
          <p:nvPr/>
        </p:nvSpPr>
        <p:spPr>
          <a:xfrm>
            <a:off x="633843" y="4948661"/>
            <a:ext cx="861493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*Key m</a:t>
            </a:r>
            <a:r>
              <a:rPr lang="en-GB" sz="1000" b="1" dirty="0">
                <a:solidFill>
                  <a:schemeClr val="tx1"/>
                </a:solidFill>
              </a:rPr>
              <a:t>ethane metric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/>
                </a:solidFill>
              </a:rPr>
              <a:t>Emissions r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/>
              <a:t>Emissions reduction targ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/>
                </a:solidFill>
              </a:rPr>
              <a:t>Leak detection and repair protoco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/>
              <a:t>Methane policy position 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FCAA25-5632-45E1-955C-48800B4ECD9C}"/>
              </a:ext>
            </a:extLst>
          </p:cNvPr>
          <p:cNvSpPr txBox="1"/>
          <p:nvPr/>
        </p:nvSpPr>
        <p:spPr>
          <a:xfrm>
            <a:off x="2984500" y="4987594"/>
            <a:ext cx="95123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Assessment framework aligned with best practice recommendations including those included in the 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vironmental Defence Fund’s investor’s Guide to methane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7A741A6-5411-296B-E11C-1272C37032CA}"/>
              </a:ext>
            </a:extLst>
          </p:cNvPr>
          <p:cNvSpPr txBox="1"/>
          <p:nvPr/>
        </p:nvSpPr>
        <p:spPr>
          <a:xfrm>
            <a:off x="2984500" y="5565345"/>
            <a:ext cx="813769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816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800" dirty="0">
                <a:solidFill>
                  <a:srgbClr val="8B8A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Nordea Asset Management  - Responsible Investments – for illustrative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57589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5E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24</TotalTime>
  <Words>254</Words>
  <Application>Microsoft Office PowerPoint</Application>
  <PresentationFormat>Custom</PresentationFormat>
  <Paragraphs>4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Nordea Sans Large Black</vt:lpstr>
      <vt:lpstr>Wingdings</vt:lpstr>
      <vt:lpstr>Nordea</vt:lpstr>
      <vt:lpstr>think-cell Slide</vt:lpstr>
      <vt:lpstr>Nordea Asset Management framework for assessing methane maturity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urteen companies have joined the OGMP 2.0 during the engagement period In significant reversals, Exxon, Chevron and OMV joined in 2024</dc:title>
  <cp:lastModifiedBy>Stoneman, Tonya</cp:lastModifiedBy>
  <cp:revision>4</cp:revision>
  <dcterms:created xsi:type="dcterms:W3CDTF">2016-03-23T08:04:09Z</dcterms:created>
  <dcterms:modified xsi:type="dcterms:W3CDTF">2024-06-27T10:0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9f05f8a-3eab-47c1-96ab-5b57ae0de518_Enabled">
    <vt:lpwstr>true</vt:lpwstr>
  </property>
  <property fmtid="{D5CDD505-2E9C-101B-9397-08002B2CF9AE}" pid="3" name="MSIP_Label_b9f05f8a-3eab-47c1-96ab-5b57ae0de518_SetDate">
    <vt:lpwstr>2024-06-26T10:11:41Z</vt:lpwstr>
  </property>
  <property fmtid="{D5CDD505-2E9C-101B-9397-08002B2CF9AE}" pid="4" name="MSIP_Label_b9f05f8a-3eab-47c1-96ab-5b57ae0de518_Method">
    <vt:lpwstr>Privileged</vt:lpwstr>
  </property>
  <property fmtid="{D5CDD505-2E9C-101B-9397-08002B2CF9AE}" pid="5" name="MSIP_Label_b9f05f8a-3eab-47c1-96ab-5b57ae0de518_Name">
    <vt:lpwstr>Internal</vt:lpwstr>
  </property>
  <property fmtid="{D5CDD505-2E9C-101B-9397-08002B2CF9AE}" pid="6" name="MSIP_Label_b9f05f8a-3eab-47c1-96ab-5b57ae0de518_SiteId">
    <vt:lpwstr>8beccd60-0be6-4025-8e24-ca9ae679e1f4</vt:lpwstr>
  </property>
  <property fmtid="{D5CDD505-2E9C-101B-9397-08002B2CF9AE}" pid="7" name="MSIP_Label_b9f05f8a-3eab-47c1-96ab-5b57ae0de518_ActionId">
    <vt:lpwstr>a4c2ac31-9907-4b65-8905-42c331ad6676</vt:lpwstr>
  </property>
  <property fmtid="{D5CDD505-2E9C-101B-9397-08002B2CF9AE}" pid="8" name="MSIP_Label_b9f05f8a-3eab-47c1-96ab-5b57ae0de518_ContentBits">
    <vt:lpwstr>0</vt:lpwstr>
  </property>
</Properties>
</file>